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sldIdLst>
    <p:sldId id="438" r:id="rId5"/>
    <p:sldId id="527" r:id="rId6"/>
    <p:sldId id="525" r:id="rId7"/>
    <p:sldId id="504" r:id="rId8"/>
    <p:sldId id="489" r:id="rId9"/>
  </p:sldIdLst>
  <p:sldSz cx="8966200" cy="6718300"/>
  <p:notesSz cx="8966200" cy="67183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4231">
          <p15:clr>
            <a:srgbClr val="A4A3A4"/>
          </p15:clr>
        </p15:guide>
        <p15:guide id="4" pos="280">
          <p15:clr>
            <a:srgbClr val="A4A3A4"/>
          </p15:clr>
        </p15:guide>
        <p15:guide id="5" pos="536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milola.ogunbiyi@outlook.com" initials="d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8552"/>
    <a:srgbClr val="CCFFCC"/>
    <a:srgbClr val="97FF97"/>
    <a:srgbClr val="00CC00"/>
    <a:srgbClr val="33CC33"/>
    <a:srgbClr val="009900"/>
    <a:srgbClr val="C8F8E3"/>
    <a:srgbClr val="FDAA08"/>
    <a:srgbClr val="990000"/>
    <a:srgbClr val="CC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F4786A-E343-4818-93E3-8E6407125B6E}" v="2540" dt="2019-04-14T19:43:19.6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90" autoAdjust="0"/>
    <p:restoredTop sz="79601" autoAdjust="0"/>
  </p:normalViewPr>
  <p:slideViewPr>
    <p:cSldViewPr snapToGrid="0">
      <p:cViewPr varScale="1">
        <p:scale>
          <a:sx n="64" d="100"/>
          <a:sy n="64" d="100"/>
        </p:scale>
        <p:origin x="522" y="72"/>
      </p:cViewPr>
      <p:guideLst>
        <p:guide orient="horz" pos="2880"/>
        <p:guide pos="2160"/>
        <p:guide orient="horz" pos="4231"/>
        <p:guide pos="280"/>
        <p:guide pos="5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sa Tessier" userId="4f8defb2-15b8-47f9-a0a8-862f1b0a0207" providerId="ADAL" clId="{9DDC5DCE-A537-4CD3-B072-5CC15B800871}"/>
    <pc:docChg chg="undo custSel addSld delSld modSld">
      <pc:chgData name="Lisa Tessier" userId="4f8defb2-15b8-47f9-a0a8-862f1b0a0207" providerId="ADAL" clId="{9DDC5DCE-A537-4CD3-B072-5CC15B800871}" dt="2019-04-14T12:08:11.847" v="1848" actId="20577"/>
      <pc:docMkLst>
        <pc:docMk/>
      </pc:docMkLst>
      <pc:sldChg chg="modSp">
        <pc:chgData name="Lisa Tessier" userId="4f8defb2-15b8-47f9-a0a8-862f1b0a0207" providerId="ADAL" clId="{9DDC5DCE-A537-4CD3-B072-5CC15B800871}" dt="2019-04-14T12:01:41.835" v="1422" actId="14100"/>
        <pc:sldMkLst>
          <pc:docMk/>
          <pc:sldMk cId="3203066251" sldId="372"/>
        </pc:sldMkLst>
        <pc:spChg chg="mod">
          <ac:chgData name="Lisa Tessier" userId="4f8defb2-15b8-47f9-a0a8-862f1b0a0207" providerId="ADAL" clId="{9DDC5DCE-A537-4CD3-B072-5CC15B800871}" dt="2019-04-14T12:01:41.835" v="1422" actId="14100"/>
          <ac:spMkLst>
            <pc:docMk/>
            <pc:sldMk cId="3203066251" sldId="372"/>
            <ac:spMk id="18" creationId="{BF869B19-E5E0-4924-8C7D-88CA3EC0A59A}"/>
          </ac:spMkLst>
        </pc:spChg>
      </pc:sldChg>
      <pc:sldChg chg="modSp modNotesTx">
        <pc:chgData name="Lisa Tessier" userId="4f8defb2-15b8-47f9-a0a8-862f1b0a0207" providerId="ADAL" clId="{9DDC5DCE-A537-4CD3-B072-5CC15B800871}" dt="2019-04-14T11:50:19.416" v="1263" actId="14100"/>
        <pc:sldMkLst>
          <pc:docMk/>
          <pc:sldMk cId="576382863" sldId="495"/>
        </pc:sldMkLst>
        <pc:spChg chg="mod">
          <ac:chgData name="Lisa Tessier" userId="4f8defb2-15b8-47f9-a0a8-862f1b0a0207" providerId="ADAL" clId="{9DDC5DCE-A537-4CD3-B072-5CC15B800871}" dt="2019-04-14T11:50:19.416" v="1263" actId="14100"/>
          <ac:spMkLst>
            <pc:docMk/>
            <pc:sldMk cId="576382863" sldId="495"/>
            <ac:spMk id="11" creationId="{00000000-0000-0000-0000-000000000000}"/>
          </ac:spMkLst>
        </pc:spChg>
        <pc:spChg chg="mod">
          <ac:chgData name="Lisa Tessier" userId="4f8defb2-15b8-47f9-a0a8-862f1b0a0207" providerId="ADAL" clId="{9DDC5DCE-A537-4CD3-B072-5CC15B800871}" dt="2019-04-14T11:38:29.925" v="104" actId="20577"/>
          <ac:spMkLst>
            <pc:docMk/>
            <pc:sldMk cId="576382863" sldId="495"/>
            <ac:spMk id="36" creationId="{00000000-0000-0000-0000-000000000000}"/>
          </ac:spMkLst>
        </pc:spChg>
      </pc:sldChg>
      <pc:sldChg chg="del">
        <pc:chgData name="Lisa Tessier" userId="4f8defb2-15b8-47f9-a0a8-862f1b0a0207" providerId="ADAL" clId="{9DDC5DCE-A537-4CD3-B072-5CC15B800871}" dt="2019-04-14T12:00:16.682" v="1381" actId="2696"/>
        <pc:sldMkLst>
          <pc:docMk/>
          <pc:sldMk cId="2521214507" sldId="526"/>
        </pc:sldMkLst>
      </pc:sldChg>
      <pc:sldChg chg="modSp">
        <pc:chgData name="Lisa Tessier" userId="4f8defb2-15b8-47f9-a0a8-862f1b0a0207" providerId="ADAL" clId="{9DDC5DCE-A537-4CD3-B072-5CC15B800871}" dt="2019-04-14T11:41:45.454" v="214" actId="6549"/>
        <pc:sldMkLst>
          <pc:docMk/>
          <pc:sldMk cId="2586851166" sldId="527"/>
        </pc:sldMkLst>
        <pc:spChg chg="mod">
          <ac:chgData name="Lisa Tessier" userId="4f8defb2-15b8-47f9-a0a8-862f1b0a0207" providerId="ADAL" clId="{9DDC5DCE-A537-4CD3-B072-5CC15B800871}" dt="2019-04-14T11:41:45.454" v="214" actId="6549"/>
          <ac:spMkLst>
            <pc:docMk/>
            <pc:sldMk cId="2586851166" sldId="527"/>
            <ac:spMk id="17" creationId="{00000000-0000-0000-0000-000000000000}"/>
          </ac:spMkLst>
        </pc:spChg>
      </pc:sldChg>
      <pc:sldChg chg="add del">
        <pc:chgData name="Lisa Tessier" userId="4f8defb2-15b8-47f9-a0a8-862f1b0a0207" providerId="ADAL" clId="{9DDC5DCE-A537-4CD3-B072-5CC15B800871}" dt="2019-04-14T11:42:21.926" v="216"/>
        <pc:sldMkLst>
          <pc:docMk/>
          <pc:sldMk cId="186305942" sldId="528"/>
        </pc:sldMkLst>
      </pc:sldChg>
      <pc:sldChg chg="addSp delSp modSp add modNotesTx">
        <pc:chgData name="Lisa Tessier" userId="4f8defb2-15b8-47f9-a0a8-862f1b0a0207" providerId="ADAL" clId="{9DDC5DCE-A537-4CD3-B072-5CC15B800871}" dt="2019-04-14T12:00:07.555" v="1380" actId="14100"/>
        <pc:sldMkLst>
          <pc:docMk/>
          <pc:sldMk cId="1503075665" sldId="528"/>
        </pc:sldMkLst>
        <pc:spChg chg="add mod">
          <ac:chgData name="Lisa Tessier" userId="4f8defb2-15b8-47f9-a0a8-862f1b0a0207" providerId="ADAL" clId="{9DDC5DCE-A537-4CD3-B072-5CC15B800871}" dt="2019-04-14T11:54:51.197" v="1273" actId="14100"/>
          <ac:spMkLst>
            <pc:docMk/>
            <pc:sldMk cId="1503075665" sldId="528"/>
            <ac:spMk id="2" creationId="{06936609-79DE-465C-8A0E-897EFDD124A6}"/>
          </ac:spMkLst>
        </pc:spChg>
        <pc:spChg chg="add mod">
          <ac:chgData name="Lisa Tessier" userId="4f8defb2-15b8-47f9-a0a8-862f1b0a0207" providerId="ADAL" clId="{9DDC5DCE-A537-4CD3-B072-5CC15B800871}" dt="2019-04-14T12:00:07.555" v="1380" actId="14100"/>
          <ac:spMkLst>
            <pc:docMk/>
            <pc:sldMk cId="1503075665" sldId="528"/>
            <ac:spMk id="9" creationId="{DE61661E-0295-4D13-856A-D7AF73C7B836}"/>
          </ac:spMkLst>
        </pc:spChg>
        <pc:spChg chg="mod">
          <ac:chgData name="Lisa Tessier" userId="4f8defb2-15b8-47f9-a0a8-862f1b0a0207" providerId="ADAL" clId="{9DDC5DCE-A537-4CD3-B072-5CC15B800871}" dt="2019-04-14T11:42:53.748" v="270" actId="20577"/>
          <ac:spMkLst>
            <pc:docMk/>
            <pc:sldMk cId="1503075665" sldId="528"/>
            <ac:spMk id="11" creationId="{00000000-0000-0000-0000-000000000000}"/>
          </ac:spMkLst>
        </pc:spChg>
        <pc:spChg chg="del mod">
          <ac:chgData name="Lisa Tessier" userId="4f8defb2-15b8-47f9-a0a8-862f1b0a0207" providerId="ADAL" clId="{9DDC5DCE-A537-4CD3-B072-5CC15B800871}" dt="2019-04-14T11:42:54.728" v="272"/>
          <ac:spMkLst>
            <pc:docMk/>
            <pc:sldMk cId="1503075665" sldId="528"/>
            <ac:spMk id="36" creationId="{00000000-0000-0000-0000-000000000000}"/>
          </ac:spMkLst>
        </pc:spChg>
        <pc:cxnChg chg="add mod">
          <ac:chgData name="Lisa Tessier" userId="4f8defb2-15b8-47f9-a0a8-862f1b0a0207" providerId="ADAL" clId="{9DDC5DCE-A537-4CD3-B072-5CC15B800871}" dt="2019-04-14T11:57:00.324" v="1330" actId="1076"/>
          <ac:cxnSpMkLst>
            <pc:docMk/>
            <pc:sldMk cId="1503075665" sldId="528"/>
            <ac:cxnSpMk id="4" creationId="{235CECC5-D855-4D84-B45C-5C292A5306CD}"/>
          </ac:cxnSpMkLst>
        </pc:cxnChg>
        <pc:cxnChg chg="add mod">
          <ac:chgData name="Lisa Tessier" userId="4f8defb2-15b8-47f9-a0a8-862f1b0a0207" providerId="ADAL" clId="{9DDC5DCE-A537-4CD3-B072-5CC15B800871}" dt="2019-04-14T11:56:58.304" v="1329" actId="1076"/>
          <ac:cxnSpMkLst>
            <pc:docMk/>
            <pc:sldMk cId="1503075665" sldId="528"/>
            <ac:cxnSpMk id="13" creationId="{912CDE8E-CC52-4A54-A5A5-AABDB734EE72}"/>
          </ac:cxnSpMkLst>
        </pc:cxnChg>
        <pc:cxnChg chg="add mod">
          <ac:chgData name="Lisa Tessier" userId="4f8defb2-15b8-47f9-a0a8-862f1b0a0207" providerId="ADAL" clId="{9DDC5DCE-A537-4CD3-B072-5CC15B800871}" dt="2019-04-14T11:57:49.240" v="1355" actId="1037"/>
          <ac:cxnSpMkLst>
            <pc:docMk/>
            <pc:sldMk cId="1503075665" sldId="528"/>
            <ac:cxnSpMk id="14" creationId="{5810ABE0-5794-46FE-B44B-01E1A050DBBA}"/>
          </ac:cxnSpMkLst>
        </pc:cxnChg>
        <pc:cxnChg chg="add mod">
          <ac:chgData name="Lisa Tessier" userId="4f8defb2-15b8-47f9-a0a8-862f1b0a0207" providerId="ADAL" clId="{9DDC5DCE-A537-4CD3-B072-5CC15B800871}" dt="2019-04-14T11:58:00.384" v="1358" actId="1076"/>
          <ac:cxnSpMkLst>
            <pc:docMk/>
            <pc:sldMk cId="1503075665" sldId="528"/>
            <ac:cxnSpMk id="15" creationId="{ACEFB736-6807-4F0E-8611-9D6AA5A0BBAE}"/>
          </ac:cxnSpMkLst>
        </pc:cxnChg>
        <pc:cxnChg chg="add mod">
          <ac:chgData name="Lisa Tessier" userId="4f8defb2-15b8-47f9-a0a8-862f1b0a0207" providerId="ADAL" clId="{9DDC5DCE-A537-4CD3-B072-5CC15B800871}" dt="2019-04-14T11:59:33.925" v="1379" actId="1076"/>
          <ac:cxnSpMkLst>
            <pc:docMk/>
            <pc:sldMk cId="1503075665" sldId="528"/>
            <ac:cxnSpMk id="16" creationId="{16DDA4B1-BBEB-4D69-9151-476DC85FB70B}"/>
          </ac:cxnSpMkLst>
        </pc:cxnChg>
      </pc:sldChg>
      <pc:sldChg chg="addSp delSp modSp add">
        <pc:chgData name="Lisa Tessier" userId="4f8defb2-15b8-47f9-a0a8-862f1b0a0207" providerId="ADAL" clId="{9DDC5DCE-A537-4CD3-B072-5CC15B800871}" dt="2019-04-14T12:07:22.649" v="1812" actId="20577"/>
        <pc:sldMkLst>
          <pc:docMk/>
          <pc:sldMk cId="3143397919" sldId="529"/>
        </pc:sldMkLst>
        <pc:spChg chg="del mod">
          <ac:chgData name="Lisa Tessier" userId="4f8defb2-15b8-47f9-a0a8-862f1b0a0207" providerId="ADAL" clId="{9DDC5DCE-A537-4CD3-B072-5CC15B800871}" dt="2019-04-14T12:01:06.946" v="1395"/>
          <ac:spMkLst>
            <pc:docMk/>
            <pc:sldMk cId="3143397919" sldId="529"/>
            <ac:spMk id="2" creationId="{00000000-0000-0000-0000-000000000000}"/>
          </ac:spMkLst>
        </pc:spChg>
        <pc:spChg chg="del">
          <ac:chgData name="Lisa Tessier" userId="4f8defb2-15b8-47f9-a0a8-862f1b0a0207" providerId="ADAL" clId="{9DDC5DCE-A537-4CD3-B072-5CC15B800871}" dt="2019-04-14T12:00:28.423" v="1384" actId="478"/>
          <ac:spMkLst>
            <pc:docMk/>
            <pc:sldMk cId="3143397919" sldId="529"/>
            <ac:spMk id="22" creationId="{B59082F9-50F8-4AB7-8CE7-316340536485}"/>
          </ac:spMkLst>
        </pc:spChg>
        <pc:spChg chg="del mod">
          <ac:chgData name="Lisa Tessier" userId="4f8defb2-15b8-47f9-a0a8-862f1b0a0207" providerId="ADAL" clId="{9DDC5DCE-A537-4CD3-B072-5CC15B800871}" dt="2019-04-14T12:00:30.965" v="1386" actId="478"/>
          <ac:spMkLst>
            <pc:docMk/>
            <pc:sldMk cId="3143397919" sldId="529"/>
            <ac:spMk id="23" creationId="{7F9B01FB-47C4-4950-9061-3CD39E2FB968}"/>
          </ac:spMkLst>
        </pc:spChg>
        <pc:spChg chg="del">
          <ac:chgData name="Lisa Tessier" userId="4f8defb2-15b8-47f9-a0a8-862f1b0a0207" providerId="ADAL" clId="{9DDC5DCE-A537-4CD3-B072-5CC15B800871}" dt="2019-04-14T12:00:39.063" v="1390" actId="478"/>
          <ac:spMkLst>
            <pc:docMk/>
            <pc:sldMk cId="3143397919" sldId="529"/>
            <ac:spMk id="24" creationId="{1C3234EE-645E-45F2-B4AA-C292077C2B65}"/>
          </ac:spMkLst>
        </pc:spChg>
        <pc:spChg chg="del">
          <ac:chgData name="Lisa Tessier" userId="4f8defb2-15b8-47f9-a0a8-862f1b0a0207" providerId="ADAL" clId="{9DDC5DCE-A537-4CD3-B072-5CC15B800871}" dt="2019-04-14T12:00:39.063" v="1390" actId="478"/>
          <ac:spMkLst>
            <pc:docMk/>
            <pc:sldMk cId="3143397919" sldId="529"/>
            <ac:spMk id="25" creationId="{DDF78712-684D-4852-9A12-CAA24382AF8E}"/>
          </ac:spMkLst>
        </pc:spChg>
        <pc:spChg chg="del">
          <ac:chgData name="Lisa Tessier" userId="4f8defb2-15b8-47f9-a0a8-862f1b0a0207" providerId="ADAL" clId="{9DDC5DCE-A537-4CD3-B072-5CC15B800871}" dt="2019-04-14T12:00:39.063" v="1390" actId="478"/>
          <ac:spMkLst>
            <pc:docMk/>
            <pc:sldMk cId="3143397919" sldId="529"/>
            <ac:spMk id="26" creationId="{DF17B5E4-08C3-4802-A25C-9E5AB1E60007}"/>
          </ac:spMkLst>
        </pc:spChg>
        <pc:spChg chg="del">
          <ac:chgData name="Lisa Tessier" userId="4f8defb2-15b8-47f9-a0a8-862f1b0a0207" providerId="ADAL" clId="{9DDC5DCE-A537-4CD3-B072-5CC15B800871}" dt="2019-04-14T12:00:39.063" v="1390" actId="478"/>
          <ac:spMkLst>
            <pc:docMk/>
            <pc:sldMk cId="3143397919" sldId="529"/>
            <ac:spMk id="29" creationId="{50C2E8E4-85F6-4D5D-A6DF-8DF13D92D219}"/>
          </ac:spMkLst>
        </pc:spChg>
        <pc:spChg chg="del">
          <ac:chgData name="Lisa Tessier" userId="4f8defb2-15b8-47f9-a0a8-862f1b0a0207" providerId="ADAL" clId="{9DDC5DCE-A537-4CD3-B072-5CC15B800871}" dt="2019-04-14T12:00:39.063" v="1390" actId="478"/>
          <ac:spMkLst>
            <pc:docMk/>
            <pc:sldMk cId="3143397919" sldId="529"/>
            <ac:spMk id="30" creationId="{FB71EDBE-534F-4C03-A6D7-12A4F2709BFC}"/>
          </ac:spMkLst>
        </pc:spChg>
        <pc:spChg chg="del mod">
          <ac:chgData name="Lisa Tessier" userId="4f8defb2-15b8-47f9-a0a8-862f1b0a0207" providerId="ADAL" clId="{9DDC5DCE-A537-4CD3-B072-5CC15B800871}" dt="2019-04-14T12:00:43.820" v="1392" actId="478"/>
          <ac:spMkLst>
            <pc:docMk/>
            <pc:sldMk cId="3143397919" sldId="529"/>
            <ac:spMk id="31" creationId="{A4A37F1D-B3FF-4C90-AFE3-24C8134D4C8F}"/>
          </ac:spMkLst>
        </pc:spChg>
        <pc:spChg chg="del mod">
          <ac:chgData name="Lisa Tessier" userId="4f8defb2-15b8-47f9-a0a8-862f1b0a0207" providerId="ADAL" clId="{9DDC5DCE-A537-4CD3-B072-5CC15B800871}" dt="2019-04-14T12:00:34.867" v="1389" actId="478"/>
          <ac:spMkLst>
            <pc:docMk/>
            <pc:sldMk cId="3143397919" sldId="529"/>
            <ac:spMk id="33" creationId="{410B42CC-7879-4AA8-9BE6-FECC799EC3A4}"/>
          </ac:spMkLst>
        </pc:spChg>
        <pc:spChg chg="del">
          <ac:chgData name="Lisa Tessier" userId="4f8defb2-15b8-47f9-a0a8-862f1b0a0207" providerId="ADAL" clId="{9DDC5DCE-A537-4CD3-B072-5CC15B800871}" dt="2019-04-14T12:00:39.063" v="1390" actId="478"/>
          <ac:spMkLst>
            <pc:docMk/>
            <pc:sldMk cId="3143397919" sldId="529"/>
            <ac:spMk id="34" creationId="{061DA2CD-A8B3-41DF-8DC0-11586B908D4A}"/>
          </ac:spMkLst>
        </pc:spChg>
        <pc:spChg chg="add">
          <ac:chgData name="Lisa Tessier" userId="4f8defb2-15b8-47f9-a0a8-862f1b0a0207" providerId="ADAL" clId="{9DDC5DCE-A537-4CD3-B072-5CC15B800871}" dt="2019-04-14T12:01:07.423" v="1396"/>
          <ac:spMkLst>
            <pc:docMk/>
            <pc:sldMk cId="3143397919" sldId="529"/>
            <ac:spMk id="36" creationId="{2ACF5A3C-61C8-4DFB-AA02-0F996AC64868}"/>
          </ac:spMkLst>
        </pc:spChg>
        <pc:spChg chg="add mod">
          <ac:chgData name="Lisa Tessier" userId="4f8defb2-15b8-47f9-a0a8-862f1b0a0207" providerId="ADAL" clId="{9DDC5DCE-A537-4CD3-B072-5CC15B800871}" dt="2019-04-14T12:06:58.002" v="1773" actId="20577"/>
          <ac:spMkLst>
            <pc:docMk/>
            <pc:sldMk cId="3143397919" sldId="529"/>
            <ac:spMk id="37" creationId="{054FCD63-0BC6-4CC1-B05D-A77052CD4C43}"/>
          </ac:spMkLst>
        </pc:spChg>
        <pc:spChg chg="mod">
          <ac:chgData name="Lisa Tessier" userId="4f8defb2-15b8-47f9-a0a8-862f1b0a0207" providerId="ADAL" clId="{9DDC5DCE-A537-4CD3-B072-5CC15B800871}" dt="2019-04-14T12:07:22.649" v="1812" actId="20577"/>
          <ac:spMkLst>
            <pc:docMk/>
            <pc:sldMk cId="3143397919" sldId="529"/>
            <ac:spMk id="53" creationId="{00000000-0000-0000-0000-000000000000}"/>
          </ac:spMkLst>
        </pc:spChg>
        <pc:spChg chg="del">
          <ac:chgData name="Lisa Tessier" userId="4f8defb2-15b8-47f9-a0a8-862f1b0a0207" providerId="ADAL" clId="{9DDC5DCE-A537-4CD3-B072-5CC15B800871}" dt="2019-04-14T12:00:32.213" v="1387" actId="478"/>
          <ac:spMkLst>
            <pc:docMk/>
            <pc:sldMk cId="3143397919" sldId="529"/>
            <ac:spMk id="59" creationId="{9F53484E-662F-49FC-8B84-D955C0A7094D}"/>
          </ac:spMkLst>
        </pc:spChg>
        <pc:spChg chg="del">
          <ac:chgData name="Lisa Tessier" userId="4f8defb2-15b8-47f9-a0a8-862f1b0a0207" providerId="ADAL" clId="{9DDC5DCE-A537-4CD3-B072-5CC15B800871}" dt="2019-04-14T12:00:27.091" v="1383" actId="478"/>
          <ac:spMkLst>
            <pc:docMk/>
            <pc:sldMk cId="3143397919" sldId="529"/>
            <ac:spMk id="60" creationId="{1F9A4026-BC19-480D-9241-97BFAD26CC85}"/>
          </ac:spMkLst>
        </pc:spChg>
      </pc:sldChg>
      <pc:sldChg chg="modSp add">
        <pc:chgData name="Lisa Tessier" userId="4f8defb2-15b8-47f9-a0a8-862f1b0a0207" providerId="ADAL" clId="{9DDC5DCE-A537-4CD3-B072-5CC15B800871}" dt="2019-04-14T12:08:11.847" v="1848" actId="20577"/>
        <pc:sldMkLst>
          <pc:docMk/>
          <pc:sldMk cId="2337050162" sldId="530"/>
        </pc:sldMkLst>
        <pc:spChg chg="mod">
          <ac:chgData name="Lisa Tessier" userId="4f8defb2-15b8-47f9-a0a8-862f1b0a0207" providerId="ADAL" clId="{9DDC5DCE-A537-4CD3-B072-5CC15B800871}" dt="2019-04-14T12:07:41.881" v="1831" actId="20577"/>
          <ac:spMkLst>
            <pc:docMk/>
            <pc:sldMk cId="2337050162" sldId="530"/>
            <ac:spMk id="37" creationId="{054FCD63-0BC6-4CC1-B05D-A77052CD4C43}"/>
          </ac:spMkLst>
        </pc:spChg>
        <pc:spChg chg="mod">
          <ac:chgData name="Lisa Tessier" userId="4f8defb2-15b8-47f9-a0a8-862f1b0a0207" providerId="ADAL" clId="{9DDC5DCE-A537-4CD3-B072-5CC15B800871}" dt="2019-04-14T12:08:11.847" v="1848" actId="20577"/>
          <ac:spMkLst>
            <pc:docMk/>
            <pc:sldMk cId="2337050162" sldId="530"/>
            <ac:spMk id="53" creationId="{00000000-0000-0000-0000-000000000000}"/>
          </ac:spMkLst>
        </pc:spChg>
      </pc:sldChg>
    </pc:docChg>
  </pc:docChgLst>
  <pc:docChgLst>
    <pc:chgData name="Lisa Tessier" userId="4f8defb2-15b8-47f9-a0a8-862f1b0a0207" providerId="ADAL" clId="{A5F4786A-E343-4818-93E3-8E6407125B6E}"/>
    <pc:docChg chg="undo custSel delSld modSld">
      <pc:chgData name="Lisa Tessier" userId="4f8defb2-15b8-47f9-a0a8-862f1b0a0207" providerId="ADAL" clId="{A5F4786A-E343-4818-93E3-8E6407125B6E}" dt="2019-04-14T19:43:19.631" v="681" actId="2696"/>
      <pc:docMkLst>
        <pc:docMk/>
      </pc:docMkLst>
      <pc:sldChg chg="modSp del">
        <pc:chgData name="Lisa Tessier" userId="4f8defb2-15b8-47f9-a0a8-862f1b0a0207" providerId="ADAL" clId="{A5F4786A-E343-4818-93E3-8E6407125B6E}" dt="2019-04-14T15:37:48.634" v="632" actId="2696"/>
        <pc:sldMkLst>
          <pc:docMk/>
          <pc:sldMk cId="3203066251" sldId="372"/>
        </pc:sldMkLst>
        <pc:spChg chg="mod">
          <ac:chgData name="Lisa Tessier" userId="4f8defb2-15b8-47f9-a0a8-862f1b0a0207" providerId="ADAL" clId="{A5F4786A-E343-4818-93E3-8E6407125B6E}" dt="2019-04-14T14:12:48.663" v="373" actId="1036"/>
          <ac:spMkLst>
            <pc:docMk/>
            <pc:sldMk cId="3203066251" sldId="372"/>
            <ac:spMk id="11" creationId="{00000000-0000-0000-0000-000000000000}"/>
          </ac:spMkLst>
        </pc:spChg>
        <pc:spChg chg="mod">
          <ac:chgData name="Lisa Tessier" userId="4f8defb2-15b8-47f9-a0a8-862f1b0a0207" providerId="ADAL" clId="{A5F4786A-E343-4818-93E3-8E6407125B6E}" dt="2019-04-14T14:08:15.052" v="326" actId="14100"/>
          <ac:spMkLst>
            <pc:docMk/>
            <pc:sldMk cId="3203066251" sldId="372"/>
            <ac:spMk id="18" creationId="{BF869B19-E5E0-4924-8C7D-88CA3EC0A59A}"/>
          </ac:spMkLst>
        </pc:spChg>
        <pc:spChg chg="mod">
          <ac:chgData name="Lisa Tessier" userId="4f8defb2-15b8-47f9-a0a8-862f1b0a0207" providerId="ADAL" clId="{A5F4786A-E343-4818-93E3-8E6407125B6E}" dt="2019-04-14T14:12:32.721" v="371" actId="1076"/>
          <ac:spMkLst>
            <pc:docMk/>
            <pc:sldMk cId="3203066251" sldId="372"/>
            <ac:spMk id="19" creationId="{00000000-0000-0000-0000-000000000000}"/>
          </ac:spMkLst>
        </pc:spChg>
        <pc:spChg chg="mod">
          <ac:chgData name="Lisa Tessier" userId="4f8defb2-15b8-47f9-a0a8-862f1b0a0207" providerId="ADAL" clId="{A5F4786A-E343-4818-93E3-8E6407125B6E}" dt="2019-04-14T14:09:20.503" v="346" actId="1036"/>
          <ac:spMkLst>
            <pc:docMk/>
            <pc:sldMk cId="3203066251" sldId="372"/>
            <ac:spMk id="21" creationId="{00000000-0000-0000-0000-000000000000}"/>
          </ac:spMkLst>
        </pc:spChg>
        <pc:spChg chg="mod">
          <ac:chgData name="Lisa Tessier" userId="4f8defb2-15b8-47f9-a0a8-862f1b0a0207" providerId="ADAL" clId="{A5F4786A-E343-4818-93E3-8E6407125B6E}" dt="2019-04-14T14:09:23.062" v="350" actId="1036"/>
          <ac:spMkLst>
            <pc:docMk/>
            <pc:sldMk cId="3203066251" sldId="372"/>
            <ac:spMk id="29" creationId="{00000000-0000-0000-0000-000000000000}"/>
          </ac:spMkLst>
        </pc:spChg>
        <pc:picChg chg="mod">
          <ac:chgData name="Lisa Tessier" userId="4f8defb2-15b8-47f9-a0a8-862f1b0a0207" providerId="ADAL" clId="{A5F4786A-E343-4818-93E3-8E6407125B6E}" dt="2019-04-14T14:09:16.046" v="338" actId="1035"/>
          <ac:picMkLst>
            <pc:docMk/>
            <pc:sldMk cId="3203066251" sldId="372"/>
            <ac:picMk id="20" creationId="{00000000-0000-0000-0000-000000000000}"/>
          </ac:picMkLst>
        </pc:picChg>
      </pc:sldChg>
      <pc:sldChg chg="addSp delSp modSp">
        <pc:chgData name="Lisa Tessier" userId="4f8defb2-15b8-47f9-a0a8-862f1b0a0207" providerId="ADAL" clId="{A5F4786A-E343-4818-93E3-8E6407125B6E}" dt="2019-04-14T14:48:42.448" v="631" actId="478"/>
        <pc:sldMkLst>
          <pc:docMk/>
          <pc:sldMk cId="1192081607" sldId="438"/>
        </pc:sldMkLst>
        <pc:spChg chg="mod">
          <ac:chgData name="Lisa Tessier" userId="4f8defb2-15b8-47f9-a0a8-862f1b0a0207" providerId="ADAL" clId="{A5F4786A-E343-4818-93E3-8E6407125B6E}" dt="2019-04-14T14:48:12.243" v="629" actId="20577"/>
          <ac:spMkLst>
            <pc:docMk/>
            <pc:sldMk cId="1192081607" sldId="438"/>
            <ac:spMk id="3" creationId="{00000000-0000-0000-0000-000000000000}"/>
          </ac:spMkLst>
        </pc:spChg>
        <pc:picChg chg="del">
          <ac:chgData name="Lisa Tessier" userId="4f8defb2-15b8-47f9-a0a8-862f1b0a0207" providerId="ADAL" clId="{A5F4786A-E343-4818-93E3-8E6407125B6E}" dt="2019-04-14T14:48:42.448" v="631" actId="478"/>
          <ac:picMkLst>
            <pc:docMk/>
            <pc:sldMk cId="1192081607" sldId="438"/>
            <ac:picMk id="4" creationId="{00000000-0000-0000-0000-000000000000}"/>
          </ac:picMkLst>
        </pc:picChg>
        <pc:picChg chg="add">
          <ac:chgData name="Lisa Tessier" userId="4f8defb2-15b8-47f9-a0a8-862f1b0a0207" providerId="ADAL" clId="{A5F4786A-E343-4818-93E3-8E6407125B6E}" dt="2019-04-14T14:48:37.427" v="630"/>
          <ac:picMkLst>
            <pc:docMk/>
            <pc:sldMk cId="1192081607" sldId="438"/>
            <ac:picMk id="9" creationId="{AA5F5812-B2D2-4AD0-8EF1-53EC5F0EA40A}"/>
          </ac:picMkLst>
        </pc:picChg>
      </pc:sldChg>
      <pc:sldChg chg="addSp delSp modSp del">
        <pc:chgData name="Lisa Tessier" userId="4f8defb2-15b8-47f9-a0a8-862f1b0a0207" providerId="ADAL" clId="{A5F4786A-E343-4818-93E3-8E6407125B6E}" dt="2019-04-14T15:37:50.360" v="634" actId="2696"/>
        <pc:sldMkLst>
          <pc:docMk/>
          <pc:sldMk cId="576382863" sldId="495"/>
        </pc:sldMkLst>
        <pc:spChg chg="mod">
          <ac:chgData name="Lisa Tessier" userId="4f8defb2-15b8-47f9-a0a8-862f1b0a0207" providerId="ADAL" clId="{A5F4786A-E343-4818-93E3-8E6407125B6E}" dt="2019-04-14T14:46:47.282" v="611" actId="948"/>
          <ac:spMkLst>
            <pc:docMk/>
            <pc:sldMk cId="576382863" sldId="495"/>
            <ac:spMk id="36" creationId="{00000000-0000-0000-0000-000000000000}"/>
          </ac:spMkLst>
        </pc:spChg>
        <pc:picChg chg="add del mod">
          <ac:chgData name="Lisa Tessier" userId="4f8defb2-15b8-47f9-a0a8-862f1b0a0207" providerId="ADAL" clId="{A5F4786A-E343-4818-93E3-8E6407125B6E}" dt="2019-04-14T14:18:20.443" v="380" actId="478"/>
          <ac:picMkLst>
            <pc:docMk/>
            <pc:sldMk cId="576382863" sldId="495"/>
            <ac:picMk id="3" creationId="{2A082E84-0000-4414-94E0-39863BBC2740}"/>
          </ac:picMkLst>
        </pc:picChg>
        <pc:picChg chg="add mod">
          <ac:chgData name="Lisa Tessier" userId="4f8defb2-15b8-47f9-a0a8-862f1b0a0207" providerId="ADAL" clId="{A5F4786A-E343-4818-93E3-8E6407125B6E}" dt="2019-04-14T14:45:32.884" v="597" actId="14100"/>
          <ac:picMkLst>
            <pc:docMk/>
            <pc:sldMk cId="576382863" sldId="495"/>
            <ac:picMk id="5" creationId="{39EC50F8-53B7-4127-8F31-553143BC0948}"/>
          </ac:picMkLst>
        </pc:picChg>
        <pc:picChg chg="add mod">
          <ac:chgData name="Lisa Tessier" userId="4f8defb2-15b8-47f9-a0a8-862f1b0a0207" providerId="ADAL" clId="{A5F4786A-E343-4818-93E3-8E6407125B6E}" dt="2019-04-14T14:45:51.806" v="601" actId="1076"/>
          <ac:picMkLst>
            <pc:docMk/>
            <pc:sldMk cId="576382863" sldId="495"/>
            <ac:picMk id="7" creationId="{243D3217-5BEE-4475-8B52-1A4BA30B5F89}"/>
          </ac:picMkLst>
        </pc:picChg>
        <pc:picChg chg="add mod">
          <ac:chgData name="Lisa Tessier" userId="4f8defb2-15b8-47f9-a0a8-862f1b0a0207" providerId="ADAL" clId="{A5F4786A-E343-4818-93E3-8E6407125B6E}" dt="2019-04-14T14:47:41.126" v="623" actId="1076"/>
          <ac:picMkLst>
            <pc:docMk/>
            <pc:sldMk cId="576382863" sldId="495"/>
            <ac:picMk id="9" creationId="{74087CA4-113F-458B-9360-F6901E954275}"/>
          </ac:picMkLst>
        </pc:picChg>
        <pc:picChg chg="add mod modCrop">
          <ac:chgData name="Lisa Tessier" userId="4f8defb2-15b8-47f9-a0a8-862f1b0a0207" providerId="ADAL" clId="{A5F4786A-E343-4818-93E3-8E6407125B6E}" dt="2019-04-14T14:47:45.250" v="626" actId="1076"/>
          <ac:picMkLst>
            <pc:docMk/>
            <pc:sldMk cId="576382863" sldId="495"/>
            <ac:picMk id="13" creationId="{416C4EC4-DC69-4560-A84C-C2B18C4B1807}"/>
          </ac:picMkLst>
        </pc:picChg>
        <pc:picChg chg="add mod">
          <ac:chgData name="Lisa Tessier" userId="4f8defb2-15b8-47f9-a0a8-862f1b0a0207" providerId="ADAL" clId="{A5F4786A-E343-4818-93E3-8E6407125B6E}" dt="2019-04-14T14:47:48.952" v="628" actId="1076"/>
          <ac:picMkLst>
            <pc:docMk/>
            <pc:sldMk cId="576382863" sldId="495"/>
            <ac:picMk id="26" creationId="{99795315-A20E-43AF-A82A-B6F2B07FB184}"/>
          </ac:picMkLst>
        </pc:picChg>
        <pc:picChg chg="add mod">
          <ac:chgData name="Lisa Tessier" userId="4f8defb2-15b8-47f9-a0a8-862f1b0a0207" providerId="ADAL" clId="{A5F4786A-E343-4818-93E3-8E6407125B6E}" dt="2019-04-14T14:47:47.494" v="627" actId="1076"/>
          <ac:picMkLst>
            <pc:docMk/>
            <pc:sldMk cId="576382863" sldId="495"/>
            <ac:picMk id="28" creationId="{ACBFFC86-85A4-4748-B6BC-EA05A45724DA}"/>
          </ac:picMkLst>
        </pc:picChg>
        <pc:cxnChg chg="add mod">
          <ac:chgData name="Lisa Tessier" userId="4f8defb2-15b8-47f9-a0a8-862f1b0a0207" providerId="ADAL" clId="{A5F4786A-E343-4818-93E3-8E6407125B6E}" dt="2019-04-14T14:44:32.882" v="585" actId="1076"/>
          <ac:cxnSpMkLst>
            <pc:docMk/>
            <pc:sldMk cId="576382863" sldId="495"/>
            <ac:cxnSpMk id="20" creationId="{48E43A61-DFB9-45FA-B632-6FA172C16A13}"/>
          </ac:cxnSpMkLst>
        </pc:cxnChg>
        <pc:cxnChg chg="add mod">
          <ac:chgData name="Lisa Tessier" userId="4f8defb2-15b8-47f9-a0a8-862f1b0a0207" providerId="ADAL" clId="{A5F4786A-E343-4818-93E3-8E6407125B6E}" dt="2019-04-14T14:47:37.522" v="622" actId="1076"/>
          <ac:cxnSpMkLst>
            <pc:docMk/>
            <pc:sldMk cId="576382863" sldId="495"/>
            <ac:cxnSpMk id="21" creationId="{826B1302-62ED-4A10-82F6-4158937B5290}"/>
          </ac:cxnSpMkLst>
        </pc:cxnChg>
        <pc:cxnChg chg="add mod">
          <ac:chgData name="Lisa Tessier" userId="4f8defb2-15b8-47f9-a0a8-862f1b0a0207" providerId="ADAL" clId="{A5F4786A-E343-4818-93E3-8E6407125B6E}" dt="2019-04-14T14:47:42.383" v="624" actId="1076"/>
          <ac:cxnSpMkLst>
            <pc:docMk/>
            <pc:sldMk cId="576382863" sldId="495"/>
            <ac:cxnSpMk id="22" creationId="{EDA89A4A-AB11-4A86-B0A6-B9F6D030FE41}"/>
          </ac:cxnSpMkLst>
        </pc:cxnChg>
        <pc:cxnChg chg="add mod">
          <ac:chgData name="Lisa Tessier" userId="4f8defb2-15b8-47f9-a0a8-862f1b0a0207" providerId="ADAL" clId="{A5F4786A-E343-4818-93E3-8E6407125B6E}" dt="2019-04-14T14:46:22.714" v="606" actId="1076"/>
          <ac:cxnSpMkLst>
            <pc:docMk/>
            <pc:sldMk cId="576382863" sldId="495"/>
            <ac:cxnSpMk id="23" creationId="{BA6F07B6-6C43-4E48-A26C-E7ED93D6237C}"/>
          </ac:cxnSpMkLst>
        </pc:cxnChg>
        <pc:cxnChg chg="add mod">
          <ac:chgData name="Lisa Tessier" userId="4f8defb2-15b8-47f9-a0a8-862f1b0a0207" providerId="ADAL" clId="{A5F4786A-E343-4818-93E3-8E6407125B6E}" dt="2019-04-14T14:46:29.944" v="609" actId="1076"/>
          <ac:cxnSpMkLst>
            <pc:docMk/>
            <pc:sldMk cId="576382863" sldId="495"/>
            <ac:cxnSpMk id="24" creationId="{562492B1-F69D-458D-BADE-F889BE4B85CE}"/>
          </ac:cxnSpMkLst>
        </pc:cxnChg>
      </pc:sldChg>
      <pc:sldChg chg="addSp delSp modSp">
        <pc:chgData name="Lisa Tessier" userId="4f8defb2-15b8-47f9-a0a8-862f1b0a0207" providerId="ADAL" clId="{A5F4786A-E343-4818-93E3-8E6407125B6E}" dt="2019-04-14T15:39:15.930" v="653"/>
        <pc:sldMkLst>
          <pc:docMk/>
          <pc:sldMk cId="1131240783" sldId="504"/>
        </pc:sldMkLst>
        <pc:spChg chg="mod">
          <ac:chgData name="Lisa Tessier" userId="4f8defb2-15b8-47f9-a0a8-862f1b0a0207" providerId="ADAL" clId="{A5F4786A-E343-4818-93E3-8E6407125B6E}" dt="2019-04-14T15:38:50.992" v="649" actId="14100"/>
          <ac:spMkLst>
            <pc:docMk/>
            <pc:sldMk cId="1131240783" sldId="504"/>
            <ac:spMk id="23" creationId="{FEC8F5FD-6477-48B3-82CD-6BA2C72BC1A8}"/>
          </ac:spMkLst>
        </pc:spChg>
        <pc:grpChg chg="del">
          <ac:chgData name="Lisa Tessier" userId="4f8defb2-15b8-47f9-a0a8-862f1b0a0207" providerId="ADAL" clId="{A5F4786A-E343-4818-93E3-8E6407125B6E}" dt="2019-04-14T15:38:41.850" v="647" actId="478"/>
          <ac:grpSpMkLst>
            <pc:docMk/>
            <pc:sldMk cId="1131240783" sldId="504"/>
            <ac:grpSpMk id="18" creationId="{7224B720-7CD2-44BD-AF62-E486F546E607}"/>
          </ac:grpSpMkLst>
        </pc:grpChg>
        <pc:grpChg chg="add del">
          <ac:chgData name="Lisa Tessier" userId="4f8defb2-15b8-47f9-a0a8-862f1b0a0207" providerId="ADAL" clId="{A5F4786A-E343-4818-93E3-8E6407125B6E}" dt="2019-04-14T15:39:15.612" v="652" actId="478"/>
          <ac:grpSpMkLst>
            <pc:docMk/>
            <pc:sldMk cId="1131240783" sldId="504"/>
            <ac:grpSpMk id="21" creationId="{9A6F4B57-3E5A-48F2-9621-4FC5F44C53BB}"/>
          </ac:grpSpMkLst>
        </pc:grpChg>
        <pc:grpChg chg="add">
          <ac:chgData name="Lisa Tessier" userId="4f8defb2-15b8-47f9-a0a8-862f1b0a0207" providerId="ADAL" clId="{A5F4786A-E343-4818-93E3-8E6407125B6E}" dt="2019-04-14T15:39:15.930" v="653"/>
          <ac:grpSpMkLst>
            <pc:docMk/>
            <pc:sldMk cId="1131240783" sldId="504"/>
            <ac:grpSpMk id="24" creationId="{4B224F61-850B-4CB7-965E-ACE2C9733EE1}"/>
          </ac:grpSpMkLst>
        </pc:grpChg>
      </pc:sldChg>
      <pc:sldChg chg="addSp delSp modSp del">
        <pc:chgData name="Lisa Tessier" userId="4f8defb2-15b8-47f9-a0a8-862f1b0a0207" providerId="ADAL" clId="{A5F4786A-E343-4818-93E3-8E6407125B6E}" dt="2019-04-14T19:43:19.631" v="681" actId="2696"/>
        <pc:sldMkLst>
          <pc:docMk/>
          <pc:sldMk cId="1023747426" sldId="511"/>
        </pc:sldMkLst>
        <pc:spChg chg="mod">
          <ac:chgData name="Lisa Tessier" userId="4f8defb2-15b8-47f9-a0a8-862f1b0a0207" providerId="ADAL" clId="{A5F4786A-E343-4818-93E3-8E6407125B6E}" dt="2019-04-14T15:40:04.543" v="664" actId="12"/>
          <ac:spMkLst>
            <pc:docMk/>
            <pc:sldMk cId="1023747426" sldId="511"/>
            <ac:spMk id="23" creationId="{7F9B01FB-47C4-4950-9061-3CD39E2FB968}"/>
          </ac:spMkLst>
        </pc:spChg>
        <pc:spChg chg="mod">
          <ac:chgData name="Lisa Tessier" userId="4f8defb2-15b8-47f9-a0a8-862f1b0a0207" providerId="ADAL" clId="{A5F4786A-E343-4818-93E3-8E6407125B6E}" dt="2019-04-14T19:11:05.016" v="680" actId="20577"/>
          <ac:spMkLst>
            <pc:docMk/>
            <pc:sldMk cId="1023747426" sldId="511"/>
            <ac:spMk id="31" creationId="{A4A37F1D-B3FF-4C90-AFE3-24C8134D4C8F}"/>
          </ac:spMkLst>
        </pc:spChg>
        <pc:grpChg chg="del">
          <ac:chgData name="Lisa Tessier" userId="4f8defb2-15b8-47f9-a0a8-862f1b0a0207" providerId="ADAL" clId="{A5F4786A-E343-4818-93E3-8E6407125B6E}" dt="2019-04-14T15:39:20.194" v="654" actId="478"/>
          <ac:grpSpMkLst>
            <pc:docMk/>
            <pc:sldMk cId="1023747426" sldId="511"/>
            <ac:grpSpMk id="21" creationId="{24A1B897-4E8B-4074-BF81-E5D2AAF022CD}"/>
          </ac:grpSpMkLst>
        </pc:grpChg>
        <pc:grpChg chg="add mod">
          <ac:chgData name="Lisa Tessier" userId="4f8defb2-15b8-47f9-a0a8-862f1b0a0207" providerId="ADAL" clId="{A5F4786A-E343-4818-93E3-8E6407125B6E}" dt="2019-04-14T15:39:45.336" v="662" actId="1037"/>
          <ac:grpSpMkLst>
            <pc:docMk/>
            <pc:sldMk cId="1023747426" sldId="511"/>
            <ac:grpSpMk id="36" creationId="{0BD600A0-D9FE-4F95-9BB4-3C35792A86DA}"/>
          </ac:grpSpMkLst>
        </pc:grpChg>
      </pc:sldChg>
      <pc:sldChg chg="addSp delSp">
        <pc:chgData name="Lisa Tessier" userId="4f8defb2-15b8-47f9-a0a8-862f1b0a0207" providerId="ADAL" clId="{A5F4786A-E343-4818-93E3-8E6407125B6E}" dt="2019-04-14T15:39:12.676" v="651"/>
        <pc:sldMkLst>
          <pc:docMk/>
          <pc:sldMk cId="3569651271" sldId="525"/>
        </pc:sldMkLst>
        <pc:grpChg chg="del">
          <ac:chgData name="Lisa Tessier" userId="4f8defb2-15b8-47f9-a0a8-862f1b0a0207" providerId="ADAL" clId="{A5F4786A-E343-4818-93E3-8E6407125B6E}" dt="2019-04-14T15:38:38.237" v="645" actId="478"/>
          <ac:grpSpMkLst>
            <pc:docMk/>
            <pc:sldMk cId="3569651271" sldId="525"/>
            <ac:grpSpMk id="9" creationId="{579E3E42-F661-448A-A4CC-F01F25FAF79F}"/>
          </ac:grpSpMkLst>
        </pc:grpChg>
        <pc:grpChg chg="add del">
          <ac:chgData name="Lisa Tessier" userId="4f8defb2-15b8-47f9-a0a8-862f1b0a0207" providerId="ADAL" clId="{A5F4786A-E343-4818-93E3-8E6407125B6E}" dt="2019-04-14T15:39:12.316" v="650" actId="478"/>
          <ac:grpSpMkLst>
            <pc:docMk/>
            <pc:sldMk cId="3569651271" sldId="525"/>
            <ac:grpSpMk id="23" creationId="{0853F977-B1CE-423B-B1EE-DCC8A7044483}"/>
          </ac:grpSpMkLst>
        </pc:grpChg>
        <pc:grpChg chg="add">
          <ac:chgData name="Lisa Tessier" userId="4f8defb2-15b8-47f9-a0a8-862f1b0a0207" providerId="ADAL" clId="{A5F4786A-E343-4818-93E3-8E6407125B6E}" dt="2019-04-14T15:39:12.676" v="651"/>
          <ac:grpSpMkLst>
            <pc:docMk/>
            <pc:sldMk cId="3569651271" sldId="525"/>
            <ac:grpSpMk id="26" creationId="{E912338D-21F4-4100-9E4E-0D43F2FFB8EA}"/>
          </ac:grpSpMkLst>
        </pc:grpChg>
      </pc:sldChg>
      <pc:sldChg chg="modSp">
        <pc:chgData name="Lisa Tessier" userId="4f8defb2-15b8-47f9-a0a8-862f1b0a0207" providerId="ADAL" clId="{A5F4786A-E343-4818-93E3-8E6407125B6E}" dt="2019-04-14T15:38:25.699" v="644" actId="403"/>
        <pc:sldMkLst>
          <pc:docMk/>
          <pc:sldMk cId="2586851166" sldId="527"/>
        </pc:sldMkLst>
        <pc:spChg chg="mod">
          <ac:chgData name="Lisa Tessier" userId="4f8defb2-15b8-47f9-a0a8-862f1b0a0207" providerId="ADAL" clId="{A5F4786A-E343-4818-93E3-8E6407125B6E}" dt="2019-04-14T15:38:25.699" v="644" actId="403"/>
          <ac:spMkLst>
            <pc:docMk/>
            <pc:sldMk cId="2586851166" sldId="527"/>
            <ac:spMk id="58" creationId="{185D871B-AD66-44CE-AEE6-59AEBB9EE404}"/>
          </ac:spMkLst>
        </pc:spChg>
      </pc:sldChg>
      <pc:sldChg chg="addSp modSp del">
        <pc:chgData name="Lisa Tessier" userId="4f8defb2-15b8-47f9-a0a8-862f1b0a0207" providerId="ADAL" clId="{A5F4786A-E343-4818-93E3-8E6407125B6E}" dt="2019-04-14T15:37:49.704" v="633" actId="2696"/>
        <pc:sldMkLst>
          <pc:docMk/>
          <pc:sldMk cId="1503075665" sldId="528"/>
        </pc:sldMkLst>
        <pc:spChg chg="mod">
          <ac:chgData name="Lisa Tessier" userId="4f8defb2-15b8-47f9-a0a8-862f1b0a0207" providerId="ADAL" clId="{A5F4786A-E343-4818-93E3-8E6407125B6E}" dt="2019-04-14T14:05:57.320" v="151" actId="14100"/>
          <ac:spMkLst>
            <pc:docMk/>
            <pc:sldMk cId="1503075665" sldId="528"/>
            <ac:spMk id="2" creationId="{06936609-79DE-465C-8A0E-897EFDD124A6}"/>
          </ac:spMkLst>
        </pc:spChg>
        <pc:spChg chg="mod">
          <ac:chgData name="Lisa Tessier" userId="4f8defb2-15b8-47f9-a0a8-862f1b0a0207" providerId="ADAL" clId="{A5F4786A-E343-4818-93E3-8E6407125B6E}" dt="2019-04-14T14:07:24.700" v="249" actId="13926"/>
          <ac:spMkLst>
            <pc:docMk/>
            <pc:sldMk cId="1503075665" sldId="528"/>
            <ac:spMk id="9" creationId="{DE61661E-0295-4D13-856A-D7AF73C7B836}"/>
          </ac:spMkLst>
        </pc:spChg>
        <pc:cxnChg chg="mod">
          <ac:chgData name="Lisa Tessier" userId="4f8defb2-15b8-47f9-a0a8-862f1b0a0207" providerId="ADAL" clId="{A5F4786A-E343-4818-93E3-8E6407125B6E}" dt="2019-04-14T14:03:26.996" v="117" actId="1076"/>
          <ac:cxnSpMkLst>
            <pc:docMk/>
            <pc:sldMk cId="1503075665" sldId="528"/>
            <ac:cxnSpMk id="13" creationId="{912CDE8E-CC52-4A54-A5A5-AABDB734EE72}"/>
          </ac:cxnSpMkLst>
        </pc:cxnChg>
        <pc:cxnChg chg="mod">
          <ac:chgData name="Lisa Tessier" userId="4f8defb2-15b8-47f9-a0a8-862f1b0a0207" providerId="ADAL" clId="{A5F4786A-E343-4818-93E3-8E6407125B6E}" dt="2019-04-14T14:03:34.332" v="119" actId="1076"/>
          <ac:cxnSpMkLst>
            <pc:docMk/>
            <pc:sldMk cId="1503075665" sldId="528"/>
            <ac:cxnSpMk id="14" creationId="{5810ABE0-5794-46FE-B44B-01E1A050DBBA}"/>
          </ac:cxnSpMkLst>
        </pc:cxnChg>
        <pc:cxnChg chg="mod">
          <ac:chgData name="Lisa Tessier" userId="4f8defb2-15b8-47f9-a0a8-862f1b0a0207" providerId="ADAL" clId="{A5F4786A-E343-4818-93E3-8E6407125B6E}" dt="2019-04-14T14:13:07.728" v="374" actId="1038"/>
          <ac:cxnSpMkLst>
            <pc:docMk/>
            <pc:sldMk cId="1503075665" sldId="528"/>
            <ac:cxnSpMk id="15" creationId="{ACEFB736-6807-4F0E-8611-9D6AA5A0BBAE}"/>
          </ac:cxnSpMkLst>
        </pc:cxnChg>
        <pc:cxnChg chg="mod">
          <ac:chgData name="Lisa Tessier" userId="4f8defb2-15b8-47f9-a0a8-862f1b0a0207" providerId="ADAL" clId="{A5F4786A-E343-4818-93E3-8E6407125B6E}" dt="2019-04-14T14:05:08.153" v="129" actId="1035"/>
          <ac:cxnSpMkLst>
            <pc:docMk/>
            <pc:sldMk cId="1503075665" sldId="528"/>
            <ac:cxnSpMk id="16" creationId="{16DDA4B1-BBEB-4D69-9151-476DC85FB70B}"/>
          </ac:cxnSpMkLst>
        </pc:cxnChg>
        <pc:cxnChg chg="add mod">
          <ac:chgData name="Lisa Tessier" userId="4f8defb2-15b8-47f9-a0a8-862f1b0a0207" providerId="ADAL" clId="{A5F4786A-E343-4818-93E3-8E6407125B6E}" dt="2019-04-14T14:05:10.991" v="130" actId="1076"/>
          <ac:cxnSpMkLst>
            <pc:docMk/>
            <pc:sldMk cId="1503075665" sldId="528"/>
            <ac:cxnSpMk id="17" creationId="{19AA3217-92BA-420B-803C-172907123328}"/>
          </ac:cxnSpMkLst>
        </pc:cxnChg>
        <pc:cxnChg chg="add mod">
          <ac:chgData name="Lisa Tessier" userId="4f8defb2-15b8-47f9-a0a8-862f1b0a0207" providerId="ADAL" clId="{A5F4786A-E343-4818-93E3-8E6407125B6E}" dt="2019-04-14T14:05:17.685" v="131" actId="1076"/>
          <ac:cxnSpMkLst>
            <pc:docMk/>
            <pc:sldMk cId="1503075665" sldId="528"/>
            <ac:cxnSpMk id="18" creationId="{13155150-F051-458A-B6D6-9D83ECF4E2F6}"/>
          </ac:cxnSpMkLst>
        </pc:cxnChg>
        <pc:cxnChg chg="add mod">
          <ac:chgData name="Lisa Tessier" userId="4f8defb2-15b8-47f9-a0a8-862f1b0a0207" providerId="ADAL" clId="{A5F4786A-E343-4818-93E3-8E6407125B6E}" dt="2019-04-14T14:05:24.205" v="132" actId="1076"/>
          <ac:cxnSpMkLst>
            <pc:docMk/>
            <pc:sldMk cId="1503075665" sldId="528"/>
            <ac:cxnSpMk id="20" creationId="{66B4EF65-09BD-4265-9F3F-F83077096704}"/>
          </ac:cxnSpMkLst>
        </pc:cxnChg>
        <pc:cxnChg chg="add mod">
          <ac:chgData name="Lisa Tessier" userId="4f8defb2-15b8-47f9-a0a8-862f1b0a0207" providerId="ADAL" clId="{A5F4786A-E343-4818-93E3-8E6407125B6E}" dt="2019-04-14T14:06:00.072" v="152" actId="1076"/>
          <ac:cxnSpMkLst>
            <pc:docMk/>
            <pc:sldMk cId="1503075665" sldId="528"/>
            <ac:cxnSpMk id="21" creationId="{E2B4AD5D-0AED-4D67-A943-5B77A7F79327}"/>
          </ac:cxnSpMkLst>
        </pc:cxnChg>
      </pc:sldChg>
      <pc:sldChg chg="del">
        <pc:chgData name="Lisa Tessier" userId="4f8defb2-15b8-47f9-a0a8-862f1b0a0207" providerId="ADAL" clId="{A5F4786A-E343-4818-93E3-8E6407125B6E}" dt="2019-04-14T15:37:52.443" v="635" actId="2696"/>
        <pc:sldMkLst>
          <pc:docMk/>
          <pc:sldMk cId="3143397919" sldId="529"/>
        </pc:sldMkLst>
      </pc:sldChg>
      <pc:sldChg chg="del">
        <pc:chgData name="Lisa Tessier" userId="4f8defb2-15b8-47f9-a0a8-862f1b0a0207" providerId="ADAL" clId="{A5F4786A-E343-4818-93E3-8E6407125B6E}" dt="2019-04-14T15:37:53.144" v="636" actId="2696"/>
        <pc:sldMkLst>
          <pc:docMk/>
          <pc:sldMk cId="2337050162" sldId="53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884613" cy="336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78413" y="0"/>
            <a:ext cx="3886200" cy="336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292220-96E0-42E4-9E97-CE448E9214C2}" type="datetimeFigureOut">
              <a:rPr lang="en-GB" smtClean="0"/>
              <a:t>14/04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01938" y="503238"/>
            <a:ext cx="3362325" cy="25193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96938" y="3190875"/>
            <a:ext cx="7172325" cy="30241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381750"/>
            <a:ext cx="3884613" cy="3349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078413" y="6381750"/>
            <a:ext cx="3886200" cy="3349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8B6DB4-1F93-4742-9A5E-DCCEDDC8D4D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74476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846139" y="5159107"/>
            <a:ext cx="5630862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119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8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 userDrawn="1"/>
        </p:nvSpPr>
        <p:spPr bwMode="ltGray">
          <a:xfrm>
            <a:off x="0" y="3033314"/>
            <a:ext cx="8966200" cy="3684986"/>
          </a:xfrm>
          <a:prstGeom prst="rect">
            <a:avLst/>
          </a:prstGeom>
          <a:solidFill>
            <a:srgbClr val="118653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b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798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012951" y="6284568"/>
            <a:ext cx="2791483" cy="123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800" b="1" baseline="0" dirty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834138" y="6407620"/>
            <a:ext cx="2970296" cy="123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800" baseline="0">
                <a:solidFill>
                  <a:schemeClr val="accent6"/>
                </a:solidFill>
                <a:latin typeface="+mn-lt"/>
              </a:rPr>
              <a:t>Last Modified 2017-05-13 04:29 PM W. Central Africa Standard Time</a:t>
            </a:r>
            <a:endParaRPr lang="en-US" sz="800" baseline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012951" y="6530673"/>
            <a:ext cx="2791483" cy="123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800" baseline="0">
                <a:solidFill>
                  <a:schemeClr val="accent6"/>
                </a:solidFill>
                <a:latin typeface="+mn-lt"/>
              </a:rPr>
              <a:t>Printed 5/13/2017 12:22 AM GMT Standard Time</a:t>
            </a:r>
            <a:endParaRPr lang="en-US" sz="800" baseline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1725594" y="3122399"/>
            <a:ext cx="6706623" cy="58445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r">
              <a:defRPr sz="3198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725594" y="4047945"/>
            <a:ext cx="6706623" cy="39998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r">
              <a:defRPr sz="1999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725594" y="5665657"/>
            <a:ext cx="6706623" cy="246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1599" b="1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448400" y="36496"/>
            <a:ext cx="295432" cy="122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76090" y="158675"/>
            <a:ext cx="4104352" cy="2767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322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4287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rea.gov.ng/" TargetMode="External"/><Relationship Id="rId3" Type="http://schemas.openxmlformats.org/officeDocument/2006/relationships/tags" Target="../tags/tag5.xml"/><Relationship Id="rId7" Type="http://schemas.openxmlformats.org/officeDocument/2006/relationships/image" Target="../media/image17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/>
          <p:nvPr/>
        </p:nvSpPr>
        <p:spPr bwMode="gray">
          <a:xfrm>
            <a:off x="16052" y="3031573"/>
            <a:ext cx="8961437" cy="3686727"/>
          </a:xfrm>
          <a:custGeom>
            <a:avLst/>
            <a:gdLst/>
            <a:ahLst/>
            <a:cxnLst/>
            <a:rect l="l" t="t" r="r" b="b"/>
            <a:pathLst>
              <a:path w="8961437" h="3686727">
                <a:moveTo>
                  <a:pt x="8961437" y="0"/>
                </a:moveTo>
                <a:lnTo>
                  <a:pt x="0" y="0"/>
                </a:lnTo>
                <a:lnTo>
                  <a:pt x="0" y="3683553"/>
                </a:lnTo>
                <a:lnTo>
                  <a:pt x="8961437" y="3683553"/>
                </a:lnTo>
                <a:lnTo>
                  <a:pt x="8961437" y="0"/>
                </a:lnTo>
                <a:close/>
              </a:path>
            </a:pathLst>
          </a:custGeom>
          <a:solidFill>
            <a:srgbClr val="11855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 bwMode="gray">
          <a:xfrm>
            <a:off x="2374827" y="158750"/>
            <a:ext cx="4102172" cy="276911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 bwMode="gray">
          <a:xfrm>
            <a:off x="5615999" y="0"/>
            <a:ext cx="109023" cy="2452449"/>
          </a:xfrm>
          <a:custGeom>
            <a:avLst/>
            <a:gdLst/>
            <a:ahLst/>
            <a:cxnLst/>
            <a:rect l="l" t="t" r="r" b="b"/>
            <a:pathLst>
              <a:path w="109023" h="2452449">
                <a:moveTo>
                  <a:pt x="109023" y="0"/>
                </a:moveTo>
                <a:lnTo>
                  <a:pt x="0" y="2452449"/>
                </a:lnTo>
              </a:path>
            </a:pathLst>
          </a:custGeom>
          <a:ln w="9525">
            <a:solidFill>
              <a:srgbClr val="FEFFFE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 bwMode="gray">
          <a:xfrm>
            <a:off x="723718" y="3435446"/>
            <a:ext cx="6552682" cy="4913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r">
              <a:spcBef>
                <a:spcPts val="88"/>
              </a:spcBef>
            </a:pPr>
            <a:r>
              <a:rPr lang="en-US" sz="2400" spc="4" dirty="0">
                <a:solidFill>
                  <a:srgbClr val="FEFFFE"/>
                </a:solidFill>
                <a:latin typeface="Century Gothic"/>
                <a:cs typeface="Century Gothic"/>
              </a:rPr>
              <a:t>NIGERIA ELECTRIFICATION PROJECT </a:t>
            </a:r>
          </a:p>
        </p:txBody>
      </p:sp>
      <p:sp>
        <p:nvSpPr>
          <p:cNvPr id="2" name="object 2"/>
          <p:cNvSpPr txBox="1"/>
          <p:nvPr/>
        </p:nvSpPr>
        <p:spPr bwMode="gray">
          <a:xfrm>
            <a:off x="2793963" y="3926785"/>
            <a:ext cx="3263900" cy="83420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2700" algn="ctr"/>
            <a:r>
              <a:rPr lang="en-US" sz="2400" b="1" dirty="0">
                <a:solidFill>
                  <a:schemeClr val="bg1"/>
                </a:solidFill>
              </a:rPr>
              <a:t>OVERVIEW</a:t>
            </a:r>
          </a:p>
          <a:p>
            <a:pPr marL="12700" algn="ctr">
              <a:lnSpc>
                <a:spcPts val="1780"/>
              </a:lnSpc>
            </a:pPr>
            <a:r>
              <a:rPr lang="en-US" sz="2400" b="1" dirty="0">
                <a:solidFill>
                  <a:schemeClr val="bg1"/>
                </a:solidFill>
              </a:rPr>
              <a:t> </a:t>
            </a:r>
          </a:p>
          <a:p>
            <a:pPr marL="12700" algn="ctr">
              <a:lnSpc>
                <a:spcPts val="1780"/>
              </a:lnSpc>
            </a:pPr>
            <a:r>
              <a:rPr lang="en-US" b="1" dirty="0">
                <a:solidFill>
                  <a:schemeClr val="bg1"/>
                </a:solidFill>
              </a:rPr>
              <a:t>April 2019</a:t>
            </a:r>
            <a:endParaRPr lang="en-GB" sz="2400" b="1" spc="-4" baseline="1706" dirty="0">
              <a:solidFill>
                <a:srgbClr val="FEFFFE"/>
              </a:solidFill>
              <a:cs typeface="Calibr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A5F5812-B2D2-4AD0-8EF1-53EC5F0EA4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6029" y="0"/>
            <a:ext cx="1964261" cy="7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081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83B041C2-AAE2-4C00-B19A-693917B11A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494" t="9568" r="24102" b="9300"/>
          <a:stretch/>
        </p:blipFill>
        <p:spPr>
          <a:xfrm rot="4445618">
            <a:off x="2003067" y="1541223"/>
            <a:ext cx="4631109" cy="4570557"/>
          </a:xfrm>
          <a:prstGeom prst="rect">
            <a:avLst/>
          </a:prstGeom>
        </p:spPr>
      </p:pic>
      <p:sp>
        <p:nvSpPr>
          <p:cNvPr id="35" name="object 35"/>
          <p:cNvSpPr/>
          <p:nvPr/>
        </p:nvSpPr>
        <p:spPr>
          <a:xfrm>
            <a:off x="4499" y="3370"/>
            <a:ext cx="329869" cy="338442"/>
          </a:xfrm>
          <a:custGeom>
            <a:avLst/>
            <a:gdLst/>
            <a:ahLst/>
            <a:cxnLst/>
            <a:rect l="l" t="t" r="r" b="b"/>
            <a:pathLst>
              <a:path w="330200" h="338782">
                <a:moveTo>
                  <a:pt x="0" y="338782"/>
                </a:moveTo>
                <a:lnTo>
                  <a:pt x="330200" y="338782"/>
                </a:lnTo>
                <a:lnTo>
                  <a:pt x="330200" y="0"/>
                </a:lnTo>
                <a:lnTo>
                  <a:pt x="0" y="0"/>
                </a:lnTo>
                <a:lnTo>
                  <a:pt x="0" y="338782"/>
                </a:lnTo>
                <a:close/>
              </a:path>
            </a:pathLst>
          </a:custGeom>
          <a:solidFill>
            <a:srgbClr val="118552"/>
          </a:solidFill>
        </p:spPr>
        <p:txBody>
          <a:bodyPr wrap="square" lIns="0" tIns="0" rIns="0" bIns="0" rtlCol="0">
            <a:noAutofit/>
          </a:bodyPr>
          <a:lstStyle/>
          <a:p>
            <a:endParaRPr sz="1598"/>
          </a:p>
        </p:txBody>
      </p:sp>
      <p:sp>
        <p:nvSpPr>
          <p:cNvPr id="30" name="object 30"/>
          <p:cNvSpPr/>
          <p:nvPr/>
        </p:nvSpPr>
        <p:spPr>
          <a:xfrm>
            <a:off x="410491" y="6241814"/>
            <a:ext cx="8322842" cy="1"/>
          </a:xfrm>
          <a:custGeom>
            <a:avLst/>
            <a:gdLst/>
            <a:ahLst/>
            <a:cxnLst/>
            <a:rect l="l" t="t" r="r" b="b"/>
            <a:pathLst>
              <a:path w="8331200" h="1">
                <a:moveTo>
                  <a:pt x="0" y="0"/>
                </a:moveTo>
                <a:lnTo>
                  <a:pt x="8331200" y="1"/>
                </a:lnTo>
              </a:path>
            </a:pathLst>
          </a:custGeom>
          <a:ln w="9525">
            <a:solidFill>
              <a:srgbClr val="A6A5A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598"/>
          </a:p>
        </p:txBody>
      </p:sp>
      <p:sp>
        <p:nvSpPr>
          <p:cNvPr id="33" name="object 33"/>
          <p:cNvSpPr/>
          <p:nvPr/>
        </p:nvSpPr>
        <p:spPr>
          <a:xfrm>
            <a:off x="482215" y="5479229"/>
            <a:ext cx="1946777" cy="10617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598"/>
          </a:p>
        </p:txBody>
      </p:sp>
      <p:sp>
        <p:nvSpPr>
          <p:cNvPr id="17" name="object 17"/>
          <p:cNvSpPr txBox="1"/>
          <p:nvPr/>
        </p:nvSpPr>
        <p:spPr>
          <a:xfrm>
            <a:off x="472726" y="261964"/>
            <a:ext cx="7526215" cy="2791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688">
              <a:lnSpc>
                <a:spcPts val="2178"/>
              </a:lnSpc>
              <a:spcBef>
                <a:spcPts val="109"/>
              </a:spcBef>
            </a:pPr>
            <a:r>
              <a:rPr lang="en-GB" sz="1998" spc="-4" dirty="0">
                <a:latin typeface="Century Gothic" panose="020B0502020202020204" pitchFamily="34" charset="0"/>
                <a:cs typeface="Century Gothic"/>
              </a:rPr>
              <a:t>OVERVIEW OF NIGERIA ELECTRIFICATION PROJECT (NEP)</a:t>
            </a:r>
            <a:endParaRPr sz="1998" dirty="0">
              <a:latin typeface="Century Gothic" panose="020B0502020202020204" pitchFamily="34" charset="0"/>
              <a:cs typeface="Century Gothic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21F01B-19FE-4932-8B28-EF934721E068}"/>
              </a:ext>
            </a:extLst>
          </p:cNvPr>
          <p:cNvSpPr txBox="1"/>
          <p:nvPr/>
        </p:nvSpPr>
        <p:spPr>
          <a:xfrm>
            <a:off x="3805741" y="1974319"/>
            <a:ext cx="165511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latin typeface="Century Gothic" charset="0"/>
              </a:rPr>
              <a:t>Component 1 </a:t>
            </a:r>
            <a:r>
              <a:rPr lang="en-US" sz="1300" dirty="0">
                <a:latin typeface="Century Gothic" charset="0"/>
              </a:rPr>
              <a:t>– Solar Hybrid Mini Grids for Rural Economic Development </a:t>
            </a:r>
            <a:r>
              <a:rPr lang="en-US" sz="1300" b="1" dirty="0">
                <a:latin typeface="Century Gothic" charset="0"/>
              </a:rPr>
              <a:t>(US$150M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7D5501-2F85-4D34-84FE-9BB797AA43E4}"/>
              </a:ext>
            </a:extLst>
          </p:cNvPr>
          <p:cNvSpPr/>
          <p:nvPr/>
        </p:nvSpPr>
        <p:spPr>
          <a:xfrm>
            <a:off x="4093286" y="4152326"/>
            <a:ext cx="154962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00" b="1" dirty="0">
                <a:latin typeface="Century Gothic" charset="0"/>
              </a:rPr>
              <a:t>Component 3 </a:t>
            </a:r>
            <a:r>
              <a:rPr lang="en-US" sz="1300" dirty="0">
                <a:latin typeface="Century Gothic" charset="0"/>
              </a:rPr>
              <a:t>– Power Systems for public universities and teaching hospitals (</a:t>
            </a:r>
            <a:r>
              <a:rPr lang="en-US" sz="1300" b="1" dirty="0">
                <a:latin typeface="Century Gothic" charset="0"/>
              </a:rPr>
              <a:t>US$105M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68CB680-0381-4F02-8E17-40E0115FCCA4}"/>
              </a:ext>
            </a:extLst>
          </p:cNvPr>
          <p:cNvSpPr/>
          <p:nvPr/>
        </p:nvSpPr>
        <p:spPr>
          <a:xfrm>
            <a:off x="7038174" y="3266416"/>
            <a:ext cx="1894146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00" b="1" dirty="0">
                <a:latin typeface="Century Gothic" charset="0"/>
              </a:rPr>
              <a:t>Component 4 </a:t>
            </a:r>
            <a:r>
              <a:rPr lang="en-US" sz="1300" dirty="0">
                <a:latin typeface="Century Gothic" charset="0"/>
              </a:rPr>
              <a:t>– Technical Assistance(</a:t>
            </a:r>
            <a:r>
              <a:rPr lang="en-US" sz="1300" b="1" dirty="0">
                <a:latin typeface="Century Gothic" charset="0"/>
              </a:rPr>
              <a:t>US$20M</a:t>
            </a:r>
            <a:r>
              <a:rPr lang="en-US" sz="1300" dirty="0">
                <a:latin typeface="Century Gothic" charset="0"/>
              </a:rPr>
              <a:t>)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29B7CF3-8A3E-4AF7-AACC-389281DE197F}"/>
              </a:ext>
            </a:extLst>
          </p:cNvPr>
          <p:cNvCxnSpPr>
            <a:cxnSpLocks/>
          </p:cNvCxnSpPr>
          <p:nvPr/>
        </p:nvCxnSpPr>
        <p:spPr>
          <a:xfrm flipH="1">
            <a:off x="6487204" y="3612434"/>
            <a:ext cx="568031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C4035811-6235-4005-A26D-737F5830EABC}"/>
              </a:ext>
            </a:extLst>
          </p:cNvPr>
          <p:cNvSpPr txBox="1"/>
          <p:nvPr/>
        </p:nvSpPr>
        <p:spPr>
          <a:xfrm>
            <a:off x="2265734" y="3650009"/>
            <a:ext cx="178148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latin typeface="Century Gothic" charset="0"/>
              </a:rPr>
              <a:t>Component 2 </a:t>
            </a:r>
            <a:r>
              <a:rPr lang="en-US" sz="1300" dirty="0">
                <a:latin typeface="Century Gothic" charset="0"/>
              </a:rPr>
              <a:t>– Standalone Solar Systems for Homes, Farms, and Enterprises </a:t>
            </a:r>
            <a:r>
              <a:rPr lang="en-US" sz="1300" b="1" dirty="0">
                <a:latin typeface="Century Gothic" charset="0"/>
              </a:rPr>
              <a:t>(US$75M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8E64BB0-234C-4256-8D5A-4D62C5E3BA8C}"/>
              </a:ext>
            </a:extLst>
          </p:cNvPr>
          <p:cNvSpPr/>
          <p:nvPr/>
        </p:nvSpPr>
        <p:spPr>
          <a:xfrm>
            <a:off x="316529" y="636865"/>
            <a:ext cx="8282332" cy="800718"/>
          </a:xfrm>
          <a:prstGeom prst="rect">
            <a:avLst/>
          </a:prstGeom>
          <a:solidFill>
            <a:srgbClr val="118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latin typeface="Century Gothic" charset="0"/>
                <a:ea typeface="Century Gothic" charset="0"/>
                <a:cs typeface="Century Gothic" charset="0"/>
              </a:rPr>
              <a:t>Objective: </a:t>
            </a:r>
            <a:r>
              <a:rPr lang="en-US" sz="1600" dirty="0">
                <a:latin typeface="Century Gothic" charset="0"/>
                <a:ea typeface="Century Gothic" charset="0"/>
                <a:cs typeface="Century Gothic" charset="0"/>
              </a:rPr>
              <a:t>Increase access to electricity services for households, public educational institutions, and micro, small and medium enterprises throughout Nigeria</a:t>
            </a:r>
            <a:endParaRPr lang="en-US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54D80BC-E8CB-40E8-843D-1275BD7DF8C9}"/>
              </a:ext>
            </a:extLst>
          </p:cNvPr>
          <p:cNvSpPr/>
          <p:nvPr/>
        </p:nvSpPr>
        <p:spPr>
          <a:xfrm>
            <a:off x="66635" y="3275956"/>
            <a:ext cx="1946777" cy="923330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  <a:latin typeface="Century Gothic" charset="0"/>
                <a:ea typeface="Century Gothic" charset="0"/>
                <a:cs typeface="Century Gothic" charset="0"/>
              </a:rPr>
              <a:t>US$350 million </a:t>
            </a:r>
            <a:r>
              <a:rPr lang="en-US" dirty="0">
                <a:latin typeface="Century Gothic" charset="0"/>
                <a:ea typeface="Century Gothic" charset="0"/>
                <a:cs typeface="Century Gothic" charset="0"/>
              </a:rPr>
              <a:t>facility with 4 components</a:t>
            </a: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56E93A3-084F-41F9-845B-A4E2EDA2A8EA}"/>
              </a:ext>
            </a:extLst>
          </p:cNvPr>
          <p:cNvGrpSpPr/>
          <p:nvPr/>
        </p:nvGrpSpPr>
        <p:grpSpPr>
          <a:xfrm>
            <a:off x="3156475" y="2232887"/>
            <a:ext cx="508661" cy="880564"/>
            <a:chOff x="1108665" y="2060019"/>
            <a:chExt cx="700846" cy="138803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1CE255E-F04F-45FF-96FB-6306132BC891}"/>
                </a:ext>
              </a:extLst>
            </p:cNvPr>
            <p:cNvGrpSpPr/>
            <p:nvPr/>
          </p:nvGrpSpPr>
          <p:grpSpPr>
            <a:xfrm>
              <a:off x="1108665" y="2060019"/>
              <a:ext cx="700846" cy="960598"/>
              <a:chOff x="2921199" y="2292"/>
              <a:chExt cx="476052" cy="840917"/>
            </a:xfrm>
          </p:grpSpPr>
          <p:sp>
            <p:nvSpPr>
              <p:cNvPr id="32" name="Freeform 22">
                <a:extLst>
                  <a:ext uri="{FF2B5EF4-FFF2-40B4-BE49-F238E27FC236}">
                    <a16:creationId xmlns:a16="http://schemas.microsoft.com/office/drawing/2014/main" id="{70332D6B-DE3F-49B1-9A83-2ACA1E452CF0}"/>
                  </a:ext>
                </a:extLst>
              </p:cNvPr>
              <p:cNvSpPr/>
              <p:nvPr/>
            </p:nvSpPr>
            <p:spPr bwMode="gray">
              <a:xfrm>
                <a:off x="2982518" y="243059"/>
                <a:ext cx="352437" cy="600150"/>
              </a:xfrm>
              <a:custGeom>
                <a:avLst/>
                <a:gdLst>
                  <a:gd name="connsiteX0" fmla="*/ 328612 w 328612"/>
                  <a:gd name="connsiteY0" fmla="*/ 559594 h 559594"/>
                  <a:gd name="connsiteX1" fmla="*/ 0 w 328612"/>
                  <a:gd name="connsiteY1" fmla="*/ 559594 h 559594"/>
                  <a:gd name="connsiteX2" fmla="*/ 130968 w 328612"/>
                  <a:gd name="connsiteY2" fmla="*/ 0 h 559594"/>
                  <a:gd name="connsiteX3" fmla="*/ 200025 w 328612"/>
                  <a:gd name="connsiteY3" fmla="*/ 0 h 559594"/>
                  <a:gd name="connsiteX4" fmla="*/ 328612 w 328612"/>
                  <a:gd name="connsiteY4" fmla="*/ 559594 h 559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8612" h="559594">
                    <a:moveTo>
                      <a:pt x="328612" y="559594"/>
                    </a:moveTo>
                    <a:lnTo>
                      <a:pt x="0" y="559594"/>
                    </a:lnTo>
                    <a:lnTo>
                      <a:pt x="130968" y="0"/>
                    </a:lnTo>
                    <a:lnTo>
                      <a:pt x="200025" y="0"/>
                    </a:lnTo>
                    <a:lnTo>
                      <a:pt x="328612" y="559594"/>
                    </a:lnTo>
                    <a:close/>
                  </a:path>
                </a:pathLst>
              </a:custGeom>
              <a:noFill/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5464D1EE-DE07-43F1-9E33-AA87D10E8AB9}"/>
                  </a:ext>
                </a:extLst>
              </p:cNvPr>
              <p:cNvSpPr/>
              <p:nvPr/>
            </p:nvSpPr>
            <p:spPr bwMode="gray">
              <a:xfrm>
                <a:off x="2921199" y="315581"/>
                <a:ext cx="476052" cy="51503"/>
              </a:xfrm>
              <a:prstGeom prst="rect">
                <a:avLst/>
              </a:prstGeom>
              <a:noFill/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38" name="Freeform 24">
                <a:extLst>
                  <a:ext uri="{FF2B5EF4-FFF2-40B4-BE49-F238E27FC236}">
                    <a16:creationId xmlns:a16="http://schemas.microsoft.com/office/drawing/2014/main" id="{BB1325BD-4C9D-4DE5-AE48-F5EFE1DA79B1}"/>
                  </a:ext>
                </a:extLst>
              </p:cNvPr>
              <p:cNvSpPr/>
              <p:nvPr/>
            </p:nvSpPr>
            <p:spPr bwMode="gray">
              <a:xfrm>
                <a:off x="3103805" y="319672"/>
                <a:ext cx="135358" cy="104709"/>
              </a:xfrm>
              <a:custGeom>
                <a:avLst/>
                <a:gdLst>
                  <a:gd name="connsiteX0" fmla="*/ 0 w 126207"/>
                  <a:gd name="connsiteY0" fmla="*/ 0 h 97632"/>
                  <a:gd name="connsiteX1" fmla="*/ 126207 w 126207"/>
                  <a:gd name="connsiteY1" fmla="*/ 97632 h 9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207" h="97632">
                    <a:moveTo>
                      <a:pt x="0" y="0"/>
                    </a:moveTo>
                    <a:lnTo>
                      <a:pt x="126207" y="97632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 dirty="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 dirty="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39" name="Freeform 25">
                <a:extLst>
                  <a:ext uri="{FF2B5EF4-FFF2-40B4-BE49-F238E27FC236}">
                    <a16:creationId xmlns:a16="http://schemas.microsoft.com/office/drawing/2014/main" id="{91DF62A9-35D1-4CCB-A4C7-8574B6C5F4C2}"/>
                  </a:ext>
                </a:extLst>
              </p:cNvPr>
              <p:cNvSpPr/>
              <p:nvPr/>
            </p:nvSpPr>
            <p:spPr bwMode="gray">
              <a:xfrm>
                <a:off x="3087345" y="416203"/>
                <a:ext cx="178655" cy="127465"/>
              </a:xfrm>
              <a:custGeom>
                <a:avLst/>
                <a:gdLst>
                  <a:gd name="connsiteX0" fmla="*/ 0 w 126207"/>
                  <a:gd name="connsiteY0" fmla="*/ 0 h 97632"/>
                  <a:gd name="connsiteX1" fmla="*/ 126207 w 126207"/>
                  <a:gd name="connsiteY1" fmla="*/ 97632 h 9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207" h="97632">
                    <a:moveTo>
                      <a:pt x="0" y="0"/>
                    </a:moveTo>
                    <a:lnTo>
                      <a:pt x="126207" y="97632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 dirty="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 dirty="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40" name="Freeform 26">
                <a:extLst>
                  <a:ext uri="{FF2B5EF4-FFF2-40B4-BE49-F238E27FC236}">
                    <a16:creationId xmlns:a16="http://schemas.microsoft.com/office/drawing/2014/main" id="{1243C31B-537D-4585-9E38-0534BDDB27E3}"/>
                  </a:ext>
                </a:extLst>
              </p:cNvPr>
              <p:cNvSpPr/>
              <p:nvPr/>
            </p:nvSpPr>
            <p:spPr bwMode="gray">
              <a:xfrm>
                <a:off x="3052436" y="543672"/>
                <a:ext cx="242685" cy="140506"/>
              </a:xfrm>
              <a:custGeom>
                <a:avLst/>
                <a:gdLst>
                  <a:gd name="connsiteX0" fmla="*/ 0 w 126207"/>
                  <a:gd name="connsiteY0" fmla="*/ 0 h 97632"/>
                  <a:gd name="connsiteX1" fmla="*/ 126207 w 126207"/>
                  <a:gd name="connsiteY1" fmla="*/ 97632 h 9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207" h="97632">
                    <a:moveTo>
                      <a:pt x="0" y="0"/>
                    </a:moveTo>
                    <a:lnTo>
                      <a:pt x="126207" y="97632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41" name="Freeform 27">
                <a:extLst>
                  <a:ext uri="{FF2B5EF4-FFF2-40B4-BE49-F238E27FC236}">
                    <a16:creationId xmlns:a16="http://schemas.microsoft.com/office/drawing/2014/main" id="{E3D13EE1-9AD6-4356-956F-2486DCA38A4E}"/>
                  </a:ext>
                </a:extLst>
              </p:cNvPr>
              <p:cNvSpPr/>
              <p:nvPr/>
            </p:nvSpPr>
            <p:spPr bwMode="gray">
              <a:xfrm>
                <a:off x="3026517" y="685752"/>
                <a:ext cx="305223" cy="153137"/>
              </a:xfrm>
              <a:custGeom>
                <a:avLst/>
                <a:gdLst>
                  <a:gd name="connsiteX0" fmla="*/ 0 w 126207"/>
                  <a:gd name="connsiteY0" fmla="*/ 0 h 97632"/>
                  <a:gd name="connsiteX1" fmla="*/ 126207 w 126207"/>
                  <a:gd name="connsiteY1" fmla="*/ 97632 h 97632"/>
                  <a:gd name="connsiteX0" fmla="*/ 0 w 128355"/>
                  <a:gd name="connsiteY0" fmla="*/ 0 h 92981"/>
                  <a:gd name="connsiteX1" fmla="*/ 128355 w 128355"/>
                  <a:gd name="connsiteY1" fmla="*/ 92981 h 9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8355" h="92981">
                    <a:moveTo>
                      <a:pt x="0" y="0"/>
                    </a:moveTo>
                    <a:lnTo>
                      <a:pt x="128355" y="92981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 dirty="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 dirty="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42" name="Freeform 28">
                <a:extLst>
                  <a:ext uri="{FF2B5EF4-FFF2-40B4-BE49-F238E27FC236}">
                    <a16:creationId xmlns:a16="http://schemas.microsoft.com/office/drawing/2014/main" id="{ACD8863A-6E89-4C6F-B05E-232BBAEC18CE}"/>
                  </a:ext>
                </a:extLst>
              </p:cNvPr>
              <p:cNvSpPr/>
              <p:nvPr/>
            </p:nvSpPr>
            <p:spPr bwMode="gray">
              <a:xfrm flipV="1">
                <a:off x="3084088" y="319668"/>
                <a:ext cx="135358" cy="104709"/>
              </a:xfrm>
              <a:custGeom>
                <a:avLst/>
                <a:gdLst>
                  <a:gd name="connsiteX0" fmla="*/ 0 w 126207"/>
                  <a:gd name="connsiteY0" fmla="*/ 0 h 97632"/>
                  <a:gd name="connsiteX1" fmla="*/ 126207 w 126207"/>
                  <a:gd name="connsiteY1" fmla="*/ 97632 h 9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207" h="97632">
                    <a:moveTo>
                      <a:pt x="0" y="0"/>
                    </a:moveTo>
                    <a:lnTo>
                      <a:pt x="126207" y="97632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43" name="Freeform 29">
                <a:extLst>
                  <a:ext uri="{FF2B5EF4-FFF2-40B4-BE49-F238E27FC236}">
                    <a16:creationId xmlns:a16="http://schemas.microsoft.com/office/drawing/2014/main" id="{2D1B901E-3659-4E15-B747-DB42E6996736}"/>
                  </a:ext>
                </a:extLst>
              </p:cNvPr>
              <p:cNvSpPr/>
              <p:nvPr/>
            </p:nvSpPr>
            <p:spPr bwMode="gray">
              <a:xfrm flipV="1">
                <a:off x="3057367" y="416199"/>
                <a:ext cx="178655" cy="127465"/>
              </a:xfrm>
              <a:custGeom>
                <a:avLst/>
                <a:gdLst>
                  <a:gd name="connsiteX0" fmla="*/ 0 w 126207"/>
                  <a:gd name="connsiteY0" fmla="*/ 0 h 97632"/>
                  <a:gd name="connsiteX1" fmla="*/ 126207 w 126207"/>
                  <a:gd name="connsiteY1" fmla="*/ 97632 h 9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207" h="97632">
                    <a:moveTo>
                      <a:pt x="0" y="0"/>
                    </a:moveTo>
                    <a:lnTo>
                      <a:pt x="126207" y="97632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 dirty="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 dirty="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44" name="Freeform 30">
                <a:extLst>
                  <a:ext uri="{FF2B5EF4-FFF2-40B4-BE49-F238E27FC236}">
                    <a16:creationId xmlns:a16="http://schemas.microsoft.com/office/drawing/2014/main" id="{A45984D4-4B21-4C22-902B-D2C2417D588A}"/>
                  </a:ext>
                </a:extLst>
              </p:cNvPr>
              <p:cNvSpPr/>
              <p:nvPr/>
            </p:nvSpPr>
            <p:spPr bwMode="gray">
              <a:xfrm flipV="1">
                <a:off x="2987628" y="683203"/>
                <a:ext cx="310329" cy="153137"/>
              </a:xfrm>
              <a:custGeom>
                <a:avLst/>
                <a:gdLst>
                  <a:gd name="connsiteX0" fmla="*/ 0 w 126207"/>
                  <a:gd name="connsiteY0" fmla="*/ 0 h 97632"/>
                  <a:gd name="connsiteX1" fmla="*/ 126207 w 126207"/>
                  <a:gd name="connsiteY1" fmla="*/ 97632 h 97632"/>
                  <a:gd name="connsiteX0" fmla="*/ 0 w 130503"/>
                  <a:gd name="connsiteY0" fmla="*/ 0 h 92981"/>
                  <a:gd name="connsiteX1" fmla="*/ 130503 w 130503"/>
                  <a:gd name="connsiteY1" fmla="*/ 92981 h 92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0503" h="92981">
                    <a:moveTo>
                      <a:pt x="0" y="0"/>
                    </a:moveTo>
                    <a:lnTo>
                      <a:pt x="130503" y="92981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 dirty="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 dirty="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45" name="Freeform 31">
                <a:extLst>
                  <a:ext uri="{FF2B5EF4-FFF2-40B4-BE49-F238E27FC236}">
                    <a16:creationId xmlns:a16="http://schemas.microsoft.com/office/drawing/2014/main" id="{49BAA20D-E451-48CD-BC62-08953EE8C97B}"/>
                  </a:ext>
                </a:extLst>
              </p:cNvPr>
              <p:cNvSpPr/>
              <p:nvPr/>
            </p:nvSpPr>
            <p:spPr bwMode="gray">
              <a:xfrm>
                <a:off x="2922602" y="365281"/>
                <a:ext cx="149978" cy="87134"/>
              </a:xfrm>
              <a:custGeom>
                <a:avLst/>
                <a:gdLst>
                  <a:gd name="connsiteX0" fmla="*/ 0 w 126207"/>
                  <a:gd name="connsiteY0" fmla="*/ 0 h 97632"/>
                  <a:gd name="connsiteX1" fmla="*/ 126207 w 126207"/>
                  <a:gd name="connsiteY1" fmla="*/ 97632 h 9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207" h="97632">
                    <a:moveTo>
                      <a:pt x="0" y="0"/>
                    </a:moveTo>
                    <a:lnTo>
                      <a:pt x="126207" y="97632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 dirty="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 dirty="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46" name="Freeform 32">
                <a:extLst>
                  <a:ext uri="{FF2B5EF4-FFF2-40B4-BE49-F238E27FC236}">
                    <a16:creationId xmlns:a16="http://schemas.microsoft.com/office/drawing/2014/main" id="{D39DC242-D9A6-4B51-8498-D67ED2B66DC0}"/>
                  </a:ext>
                </a:extLst>
              </p:cNvPr>
              <p:cNvSpPr/>
              <p:nvPr/>
            </p:nvSpPr>
            <p:spPr bwMode="gray">
              <a:xfrm flipH="1">
                <a:off x="3246815" y="365285"/>
                <a:ext cx="149978" cy="87134"/>
              </a:xfrm>
              <a:custGeom>
                <a:avLst/>
                <a:gdLst>
                  <a:gd name="connsiteX0" fmla="*/ 0 w 126207"/>
                  <a:gd name="connsiteY0" fmla="*/ 0 h 97632"/>
                  <a:gd name="connsiteX1" fmla="*/ 126207 w 126207"/>
                  <a:gd name="connsiteY1" fmla="*/ 97632 h 97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6207" h="97632">
                    <a:moveTo>
                      <a:pt x="0" y="0"/>
                    </a:moveTo>
                    <a:lnTo>
                      <a:pt x="126207" y="97632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39BD8A5A-7C92-43C7-AC12-A7EEB00DC280}"/>
                  </a:ext>
                </a:extLst>
              </p:cNvPr>
              <p:cNvCxnSpPr/>
              <p:nvPr/>
            </p:nvCxnSpPr>
            <p:spPr bwMode="gray">
              <a:xfrm flipV="1">
                <a:off x="2997590" y="232516"/>
                <a:ext cx="0" cy="84603"/>
              </a:xfrm>
              <a:prstGeom prst="line">
                <a:avLst/>
              </a:pr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  <a:tailEnd type="oval" w="sm" len="sm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745038C-65BF-4AC6-B2D2-00B90D6E23AC}"/>
                  </a:ext>
                </a:extLst>
              </p:cNvPr>
              <p:cNvCxnSpPr/>
              <p:nvPr/>
            </p:nvCxnSpPr>
            <p:spPr bwMode="gray">
              <a:xfrm flipV="1">
                <a:off x="3324099" y="232516"/>
                <a:ext cx="0" cy="84603"/>
              </a:xfrm>
              <a:prstGeom prst="line">
                <a:avLst/>
              </a:pr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  <a:tailEnd type="oval" w="sm" len="sm"/>
              </a:ln>
              <a:effectLst/>
            </p:spPr>
          </p:cxnSp>
          <p:sp>
            <p:nvSpPr>
              <p:cNvPr id="49" name="Freeform 35">
                <a:extLst>
                  <a:ext uri="{FF2B5EF4-FFF2-40B4-BE49-F238E27FC236}">
                    <a16:creationId xmlns:a16="http://schemas.microsoft.com/office/drawing/2014/main" id="{CE3C1EED-3932-4B86-8895-FB8F76A89C1A}"/>
                  </a:ext>
                </a:extLst>
              </p:cNvPr>
              <p:cNvSpPr/>
              <p:nvPr/>
            </p:nvSpPr>
            <p:spPr bwMode="gray">
              <a:xfrm>
                <a:off x="3026561" y="365643"/>
                <a:ext cx="0" cy="61292"/>
              </a:xfrm>
              <a:custGeom>
                <a:avLst/>
                <a:gdLst>
                  <a:gd name="connsiteX0" fmla="*/ 0 w 0"/>
                  <a:gd name="connsiteY0" fmla="*/ 0 h 57150"/>
                  <a:gd name="connsiteX1" fmla="*/ 0 w 0"/>
                  <a:gd name="connsiteY1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7150">
                    <a:moveTo>
                      <a:pt x="0" y="0"/>
                    </a:moveTo>
                    <a:lnTo>
                      <a:pt x="0" y="57150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50" name="Freeform 36">
                <a:extLst>
                  <a:ext uri="{FF2B5EF4-FFF2-40B4-BE49-F238E27FC236}">
                    <a16:creationId xmlns:a16="http://schemas.microsoft.com/office/drawing/2014/main" id="{AD9E39EA-B028-4568-B2EA-EB1FBC4D2DE0}"/>
                  </a:ext>
                </a:extLst>
              </p:cNvPr>
              <p:cNvSpPr/>
              <p:nvPr/>
            </p:nvSpPr>
            <p:spPr bwMode="gray">
              <a:xfrm>
                <a:off x="3294698" y="365640"/>
                <a:ext cx="0" cy="61292"/>
              </a:xfrm>
              <a:custGeom>
                <a:avLst/>
                <a:gdLst>
                  <a:gd name="connsiteX0" fmla="*/ 0 w 0"/>
                  <a:gd name="connsiteY0" fmla="*/ 0 h 57150"/>
                  <a:gd name="connsiteX1" fmla="*/ 0 w 0"/>
                  <a:gd name="connsiteY1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57150">
                    <a:moveTo>
                      <a:pt x="0" y="0"/>
                    </a:moveTo>
                    <a:lnTo>
                      <a:pt x="0" y="57150"/>
                    </a:lnTo>
                  </a:path>
                </a:pathLst>
              </a:custGeom>
              <a:solidFill>
                <a:srgbClr val="808080">
                  <a:lumMod val="75000"/>
                </a:srgbClr>
              </a:solidFill>
              <a:ln w="15875" cap="flat" cmpd="sng" algn="ctr">
                <a:solidFill>
                  <a:srgbClr val="80808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 dirty="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 dirty="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  <p:sp>
            <p:nvSpPr>
              <p:cNvPr id="51" name="Freeform 37">
                <a:extLst>
                  <a:ext uri="{FF2B5EF4-FFF2-40B4-BE49-F238E27FC236}">
                    <a16:creationId xmlns:a16="http://schemas.microsoft.com/office/drawing/2014/main" id="{584E51F0-216A-46C4-A000-0C6F52425344}"/>
                  </a:ext>
                </a:extLst>
              </p:cNvPr>
              <p:cNvSpPr>
                <a:spLocks/>
              </p:cNvSpPr>
              <p:nvPr/>
            </p:nvSpPr>
            <p:spPr bwMode="gray">
              <a:xfrm rot="18764891">
                <a:off x="3024945" y="-70280"/>
                <a:ext cx="187181" cy="332326"/>
              </a:xfrm>
              <a:custGeom>
                <a:avLst/>
                <a:gdLst>
                  <a:gd name="T0" fmla="*/ 203 w 871"/>
                  <a:gd name="T1" fmla="*/ 0 h 1305"/>
                  <a:gd name="T2" fmla="*/ 714 w 871"/>
                  <a:gd name="T3" fmla="*/ 611 h 1305"/>
                  <a:gd name="T4" fmla="*/ 456 w 871"/>
                  <a:gd name="T5" fmla="*/ 578 h 1305"/>
                  <a:gd name="T6" fmla="*/ 871 w 871"/>
                  <a:gd name="T7" fmla="*/ 1001 h 1305"/>
                  <a:gd name="T8" fmla="*/ 567 w 871"/>
                  <a:gd name="T9" fmla="*/ 969 h 1305"/>
                  <a:gd name="T10" fmla="*/ 754 w 871"/>
                  <a:gd name="T11" fmla="*/ 1305 h 1305"/>
                  <a:gd name="T12" fmla="*/ 167 w 871"/>
                  <a:gd name="T13" fmla="*/ 806 h 1305"/>
                  <a:gd name="T14" fmla="*/ 491 w 871"/>
                  <a:gd name="T15" fmla="*/ 831 h 1305"/>
                  <a:gd name="T16" fmla="*/ 0 w 871"/>
                  <a:gd name="T17" fmla="*/ 397 h 1305"/>
                  <a:gd name="T18" fmla="*/ 375 w 871"/>
                  <a:gd name="T19" fmla="*/ 412 h 1305"/>
                  <a:gd name="T20" fmla="*/ 203 w 871"/>
                  <a:gd name="T21" fmla="*/ 0 h 1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71" h="1305">
                    <a:moveTo>
                      <a:pt x="203" y="0"/>
                    </a:moveTo>
                    <a:lnTo>
                      <a:pt x="714" y="611"/>
                    </a:lnTo>
                    <a:lnTo>
                      <a:pt x="456" y="578"/>
                    </a:lnTo>
                    <a:lnTo>
                      <a:pt x="871" y="1001"/>
                    </a:lnTo>
                    <a:lnTo>
                      <a:pt x="567" y="969"/>
                    </a:lnTo>
                    <a:lnTo>
                      <a:pt x="754" y="1305"/>
                    </a:lnTo>
                    <a:lnTo>
                      <a:pt x="167" y="806"/>
                    </a:lnTo>
                    <a:lnTo>
                      <a:pt x="491" y="831"/>
                    </a:lnTo>
                    <a:lnTo>
                      <a:pt x="0" y="397"/>
                    </a:lnTo>
                    <a:lnTo>
                      <a:pt x="375" y="412"/>
                    </a:lnTo>
                    <a:lnTo>
                      <a:pt x="203" y="0"/>
                    </a:lnTo>
                    <a:close/>
                  </a:path>
                </a:pathLst>
              </a:custGeom>
              <a:solidFill>
                <a:srgbClr val="808080"/>
              </a:solidFill>
              <a:ln w="15875"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>
                  <a:lnSpc>
                    <a:spcPct val="115000"/>
                  </a:lnSpc>
                  <a:spcBef>
                    <a:spcPts val="0"/>
                  </a:spcBef>
                  <a:spcAft>
                    <a:spcPts val="1000"/>
                  </a:spcAft>
                </a:pPr>
                <a:r>
                  <a:rPr lang="en-US" sz="1050" dirty="0">
                    <a:effectLst/>
                    <a:latin typeface="Calibri"/>
                    <a:ea typeface="Times New Roman"/>
                    <a:cs typeface="Times New Roman"/>
                  </a:rPr>
                  <a:t> </a:t>
                </a:r>
                <a:endParaRPr lang="en-US" sz="1050" dirty="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3F045380-903B-4BB5-84C3-710B89105F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6510" y="3133313"/>
              <a:ext cx="409417" cy="314738"/>
            </a:xfrm>
            <a:custGeom>
              <a:avLst/>
              <a:gdLst>
                <a:gd name="T0" fmla="*/ 33 w 529"/>
                <a:gd name="T1" fmla="*/ 369 h 478"/>
                <a:gd name="T2" fmla="*/ 33 w 529"/>
                <a:gd name="T3" fmla="*/ 478 h 478"/>
                <a:gd name="T4" fmla="*/ 153 w 529"/>
                <a:gd name="T5" fmla="*/ 478 h 478"/>
                <a:gd name="T6" fmla="*/ 153 w 529"/>
                <a:gd name="T7" fmla="*/ 275 h 478"/>
                <a:gd name="T8" fmla="*/ 145 w 529"/>
                <a:gd name="T9" fmla="*/ 268 h 478"/>
                <a:gd name="T10" fmla="*/ 33 w 529"/>
                <a:gd name="T11" fmla="*/ 369 h 478"/>
                <a:gd name="T12" fmla="*/ 189 w 529"/>
                <a:gd name="T13" fmla="*/ 311 h 478"/>
                <a:gd name="T14" fmla="*/ 189 w 529"/>
                <a:gd name="T15" fmla="*/ 478 h 478"/>
                <a:gd name="T16" fmla="*/ 312 w 529"/>
                <a:gd name="T17" fmla="*/ 478 h 478"/>
                <a:gd name="T18" fmla="*/ 312 w 529"/>
                <a:gd name="T19" fmla="*/ 301 h 478"/>
                <a:gd name="T20" fmla="*/ 243 w 529"/>
                <a:gd name="T21" fmla="*/ 366 h 478"/>
                <a:gd name="T22" fmla="*/ 189 w 529"/>
                <a:gd name="T23" fmla="*/ 311 h 478"/>
                <a:gd name="T24" fmla="*/ 391 w 529"/>
                <a:gd name="T25" fmla="*/ 40 h 478"/>
                <a:gd name="T26" fmla="*/ 428 w 529"/>
                <a:gd name="T27" fmla="*/ 72 h 478"/>
                <a:gd name="T28" fmla="*/ 243 w 529"/>
                <a:gd name="T29" fmla="*/ 243 h 478"/>
                <a:gd name="T30" fmla="*/ 145 w 529"/>
                <a:gd name="T31" fmla="*/ 145 h 478"/>
                <a:gd name="T32" fmla="*/ 0 w 529"/>
                <a:gd name="T33" fmla="*/ 275 h 478"/>
                <a:gd name="T34" fmla="*/ 29 w 529"/>
                <a:gd name="T35" fmla="*/ 308 h 478"/>
                <a:gd name="T36" fmla="*/ 145 w 529"/>
                <a:gd name="T37" fmla="*/ 206 h 478"/>
                <a:gd name="T38" fmla="*/ 243 w 529"/>
                <a:gd name="T39" fmla="*/ 304 h 478"/>
                <a:gd name="T40" fmla="*/ 457 w 529"/>
                <a:gd name="T41" fmla="*/ 101 h 478"/>
                <a:gd name="T42" fmla="*/ 493 w 529"/>
                <a:gd name="T43" fmla="*/ 141 h 478"/>
                <a:gd name="T44" fmla="*/ 529 w 529"/>
                <a:gd name="T45" fmla="*/ 0 h 478"/>
                <a:gd name="T46" fmla="*/ 391 w 529"/>
                <a:gd name="T47" fmla="*/ 40 h 478"/>
                <a:gd name="T48" fmla="*/ 348 w 529"/>
                <a:gd name="T49" fmla="*/ 264 h 478"/>
                <a:gd name="T50" fmla="*/ 348 w 529"/>
                <a:gd name="T51" fmla="*/ 478 h 478"/>
                <a:gd name="T52" fmla="*/ 471 w 529"/>
                <a:gd name="T53" fmla="*/ 478 h 478"/>
                <a:gd name="T54" fmla="*/ 471 w 529"/>
                <a:gd name="T55" fmla="*/ 167 h 478"/>
                <a:gd name="T56" fmla="*/ 464 w 529"/>
                <a:gd name="T57" fmla="*/ 159 h 478"/>
                <a:gd name="T58" fmla="*/ 348 w 529"/>
                <a:gd name="T59" fmla="*/ 264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29" h="478">
                  <a:moveTo>
                    <a:pt x="33" y="369"/>
                  </a:moveTo>
                  <a:lnTo>
                    <a:pt x="33" y="478"/>
                  </a:lnTo>
                  <a:lnTo>
                    <a:pt x="153" y="478"/>
                  </a:lnTo>
                  <a:lnTo>
                    <a:pt x="153" y="275"/>
                  </a:lnTo>
                  <a:lnTo>
                    <a:pt x="145" y="268"/>
                  </a:lnTo>
                  <a:lnTo>
                    <a:pt x="33" y="369"/>
                  </a:lnTo>
                  <a:close/>
                  <a:moveTo>
                    <a:pt x="189" y="311"/>
                  </a:moveTo>
                  <a:lnTo>
                    <a:pt x="189" y="478"/>
                  </a:lnTo>
                  <a:lnTo>
                    <a:pt x="312" y="478"/>
                  </a:lnTo>
                  <a:lnTo>
                    <a:pt x="312" y="301"/>
                  </a:lnTo>
                  <a:lnTo>
                    <a:pt x="243" y="366"/>
                  </a:lnTo>
                  <a:lnTo>
                    <a:pt x="189" y="311"/>
                  </a:lnTo>
                  <a:close/>
                  <a:moveTo>
                    <a:pt x="391" y="40"/>
                  </a:moveTo>
                  <a:lnTo>
                    <a:pt x="428" y="72"/>
                  </a:lnTo>
                  <a:lnTo>
                    <a:pt x="243" y="243"/>
                  </a:lnTo>
                  <a:lnTo>
                    <a:pt x="145" y="145"/>
                  </a:lnTo>
                  <a:lnTo>
                    <a:pt x="0" y="275"/>
                  </a:lnTo>
                  <a:lnTo>
                    <a:pt x="29" y="308"/>
                  </a:lnTo>
                  <a:lnTo>
                    <a:pt x="145" y="206"/>
                  </a:lnTo>
                  <a:lnTo>
                    <a:pt x="243" y="304"/>
                  </a:lnTo>
                  <a:lnTo>
                    <a:pt x="457" y="101"/>
                  </a:lnTo>
                  <a:lnTo>
                    <a:pt x="493" y="141"/>
                  </a:lnTo>
                  <a:lnTo>
                    <a:pt x="529" y="0"/>
                  </a:lnTo>
                  <a:lnTo>
                    <a:pt x="391" y="40"/>
                  </a:lnTo>
                  <a:close/>
                  <a:moveTo>
                    <a:pt x="348" y="264"/>
                  </a:moveTo>
                  <a:lnTo>
                    <a:pt x="348" y="478"/>
                  </a:lnTo>
                  <a:lnTo>
                    <a:pt x="471" y="478"/>
                  </a:lnTo>
                  <a:lnTo>
                    <a:pt x="471" y="167"/>
                  </a:lnTo>
                  <a:lnTo>
                    <a:pt x="464" y="159"/>
                  </a:lnTo>
                  <a:lnTo>
                    <a:pt x="348" y="26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</a:pPr>
              <a:r>
                <a:rPr lang="en-US" sz="1050">
                  <a:effectLst/>
                  <a:latin typeface="Calibri"/>
                  <a:ea typeface="Times New Roman"/>
                  <a:cs typeface="Times New Roman"/>
                </a:rPr>
                <a:t> </a:t>
              </a:r>
              <a:endParaRPr lang="en-US" sz="1050">
                <a:effectLst/>
                <a:latin typeface="Calibri"/>
                <a:ea typeface="Calibri"/>
                <a:cs typeface="Times New Roman"/>
              </a:endParaRPr>
            </a:p>
          </p:txBody>
        </p:sp>
      </p:grpSp>
      <p:pic>
        <p:nvPicPr>
          <p:cNvPr id="52" name="Picture 8339">
            <a:extLst>
              <a:ext uri="{FF2B5EF4-FFF2-40B4-BE49-F238E27FC236}">
                <a16:creationId xmlns:a16="http://schemas.microsoft.com/office/drawing/2014/main" id="{1047C9F7-6B09-4E5A-B9A6-6EBFD5828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741" y="5009942"/>
            <a:ext cx="510601" cy="613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5857D10-3F4A-4DE7-93D6-53F3FDFCDF36}"/>
              </a:ext>
            </a:extLst>
          </p:cNvPr>
          <p:cNvGrpSpPr/>
          <p:nvPr/>
        </p:nvGrpSpPr>
        <p:grpSpPr>
          <a:xfrm>
            <a:off x="5541133" y="4199286"/>
            <a:ext cx="620242" cy="584706"/>
            <a:chOff x="5615436" y="4313017"/>
            <a:chExt cx="620242" cy="584706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C6D30814-25BE-455B-B70C-988315047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1303" y="4520129"/>
              <a:ext cx="554375" cy="377594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1824C95D-956A-44DF-A386-02DE6ACBF8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5436" y="4313017"/>
              <a:ext cx="478048" cy="334703"/>
            </a:xfrm>
            <a:prstGeom prst="rect">
              <a:avLst/>
            </a:prstGeom>
          </p:spPr>
        </p:pic>
      </p:grpSp>
      <p:pic>
        <p:nvPicPr>
          <p:cNvPr id="55" name="Graphic 54">
            <a:extLst>
              <a:ext uri="{FF2B5EF4-FFF2-40B4-BE49-F238E27FC236}">
                <a16:creationId xmlns:a16="http://schemas.microsoft.com/office/drawing/2014/main" id="{A1094F97-895A-485B-AA41-2650564DE3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28522" y="3283093"/>
            <a:ext cx="658682" cy="658682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4B3187C-E7E6-4F8D-8091-F262A3BCA947}"/>
              </a:ext>
            </a:extLst>
          </p:cNvPr>
          <p:cNvGrpSpPr/>
          <p:nvPr/>
        </p:nvGrpSpPr>
        <p:grpSpPr>
          <a:xfrm>
            <a:off x="8360319" y="6287044"/>
            <a:ext cx="377281" cy="377281"/>
            <a:chOff x="8360319" y="6287044"/>
            <a:chExt cx="377281" cy="377281"/>
          </a:xfrm>
        </p:grpSpPr>
        <p:sp>
          <p:nvSpPr>
            <p:cNvPr id="56" name="object 32">
              <a:extLst>
                <a:ext uri="{FF2B5EF4-FFF2-40B4-BE49-F238E27FC236}">
                  <a16:creationId xmlns:a16="http://schemas.microsoft.com/office/drawing/2014/main" id="{4631C7A5-7A46-4EFE-A1D8-756FF047EF8A}"/>
                </a:ext>
              </a:extLst>
            </p:cNvPr>
            <p:cNvSpPr/>
            <p:nvPr/>
          </p:nvSpPr>
          <p:spPr bwMode="gray">
            <a:xfrm>
              <a:off x="8360319" y="6287044"/>
              <a:ext cx="377281" cy="377281"/>
            </a:xfrm>
            <a:custGeom>
              <a:avLst/>
              <a:gdLst/>
              <a:ahLst/>
              <a:cxnLst/>
              <a:rect l="l" t="t" r="r" b="b"/>
              <a:pathLst>
                <a:path w="377281" h="377281">
                  <a:moveTo>
                    <a:pt x="0" y="188640"/>
                  </a:moveTo>
                  <a:lnTo>
                    <a:pt x="625" y="173169"/>
                  </a:lnTo>
                  <a:lnTo>
                    <a:pt x="2468" y="158042"/>
                  </a:lnTo>
                  <a:lnTo>
                    <a:pt x="5482" y="143308"/>
                  </a:lnTo>
                  <a:lnTo>
                    <a:pt x="9617" y="129015"/>
                  </a:lnTo>
                  <a:lnTo>
                    <a:pt x="14824" y="115213"/>
                  </a:lnTo>
                  <a:lnTo>
                    <a:pt x="21055" y="101949"/>
                  </a:lnTo>
                  <a:lnTo>
                    <a:pt x="28262" y="89272"/>
                  </a:lnTo>
                  <a:lnTo>
                    <a:pt x="36396" y="77231"/>
                  </a:lnTo>
                  <a:lnTo>
                    <a:pt x="45409" y="65875"/>
                  </a:lnTo>
                  <a:lnTo>
                    <a:pt x="55251" y="55251"/>
                  </a:lnTo>
                  <a:lnTo>
                    <a:pt x="65875" y="45409"/>
                  </a:lnTo>
                  <a:lnTo>
                    <a:pt x="77231" y="36396"/>
                  </a:lnTo>
                  <a:lnTo>
                    <a:pt x="89272" y="28262"/>
                  </a:lnTo>
                  <a:lnTo>
                    <a:pt x="101949" y="21055"/>
                  </a:lnTo>
                  <a:lnTo>
                    <a:pt x="115213" y="14824"/>
                  </a:lnTo>
                  <a:lnTo>
                    <a:pt x="129015" y="9617"/>
                  </a:lnTo>
                  <a:lnTo>
                    <a:pt x="143308" y="5482"/>
                  </a:lnTo>
                  <a:lnTo>
                    <a:pt x="158042" y="2468"/>
                  </a:lnTo>
                  <a:lnTo>
                    <a:pt x="173169" y="625"/>
                  </a:lnTo>
                  <a:lnTo>
                    <a:pt x="188640" y="0"/>
                  </a:lnTo>
                  <a:lnTo>
                    <a:pt x="204111" y="625"/>
                  </a:lnTo>
                  <a:lnTo>
                    <a:pt x="219238" y="2468"/>
                  </a:lnTo>
                  <a:lnTo>
                    <a:pt x="233973" y="5482"/>
                  </a:lnTo>
                  <a:lnTo>
                    <a:pt x="248265" y="9617"/>
                  </a:lnTo>
                  <a:lnTo>
                    <a:pt x="262067" y="14824"/>
                  </a:lnTo>
                  <a:lnTo>
                    <a:pt x="275331" y="21055"/>
                  </a:lnTo>
                  <a:lnTo>
                    <a:pt x="288008" y="28262"/>
                  </a:lnTo>
                  <a:lnTo>
                    <a:pt x="300049" y="36396"/>
                  </a:lnTo>
                  <a:lnTo>
                    <a:pt x="311405" y="45409"/>
                  </a:lnTo>
                  <a:lnTo>
                    <a:pt x="322029" y="55251"/>
                  </a:lnTo>
                  <a:lnTo>
                    <a:pt x="331871" y="65875"/>
                  </a:lnTo>
                  <a:lnTo>
                    <a:pt x="340884" y="77231"/>
                  </a:lnTo>
                  <a:lnTo>
                    <a:pt x="349018" y="89272"/>
                  </a:lnTo>
                  <a:lnTo>
                    <a:pt x="356225" y="101949"/>
                  </a:lnTo>
                  <a:lnTo>
                    <a:pt x="362456" y="115213"/>
                  </a:lnTo>
                  <a:lnTo>
                    <a:pt x="367663" y="129015"/>
                  </a:lnTo>
                  <a:lnTo>
                    <a:pt x="371798" y="143308"/>
                  </a:lnTo>
                  <a:lnTo>
                    <a:pt x="374812" y="158042"/>
                  </a:lnTo>
                  <a:lnTo>
                    <a:pt x="376655" y="173169"/>
                  </a:lnTo>
                  <a:lnTo>
                    <a:pt x="377281" y="188640"/>
                  </a:lnTo>
                  <a:lnTo>
                    <a:pt x="376655" y="204111"/>
                  </a:lnTo>
                  <a:lnTo>
                    <a:pt x="374812" y="219238"/>
                  </a:lnTo>
                  <a:lnTo>
                    <a:pt x="371798" y="233973"/>
                  </a:lnTo>
                  <a:lnTo>
                    <a:pt x="367663" y="248265"/>
                  </a:lnTo>
                  <a:lnTo>
                    <a:pt x="362456" y="262067"/>
                  </a:lnTo>
                  <a:lnTo>
                    <a:pt x="356225" y="275331"/>
                  </a:lnTo>
                  <a:lnTo>
                    <a:pt x="349018" y="288008"/>
                  </a:lnTo>
                  <a:lnTo>
                    <a:pt x="340884" y="300049"/>
                  </a:lnTo>
                  <a:lnTo>
                    <a:pt x="331871" y="311405"/>
                  </a:lnTo>
                  <a:lnTo>
                    <a:pt x="322029" y="322029"/>
                  </a:lnTo>
                  <a:lnTo>
                    <a:pt x="311405" y="331871"/>
                  </a:lnTo>
                  <a:lnTo>
                    <a:pt x="300049" y="340884"/>
                  </a:lnTo>
                  <a:lnTo>
                    <a:pt x="288008" y="349018"/>
                  </a:lnTo>
                  <a:lnTo>
                    <a:pt x="275331" y="356225"/>
                  </a:lnTo>
                  <a:lnTo>
                    <a:pt x="262067" y="362456"/>
                  </a:lnTo>
                  <a:lnTo>
                    <a:pt x="248265" y="367663"/>
                  </a:lnTo>
                  <a:lnTo>
                    <a:pt x="233973" y="371798"/>
                  </a:lnTo>
                  <a:lnTo>
                    <a:pt x="219238" y="374812"/>
                  </a:lnTo>
                  <a:lnTo>
                    <a:pt x="204111" y="376655"/>
                  </a:lnTo>
                  <a:lnTo>
                    <a:pt x="188640" y="377281"/>
                  </a:lnTo>
                  <a:lnTo>
                    <a:pt x="173169" y="376655"/>
                  </a:lnTo>
                  <a:lnTo>
                    <a:pt x="158042" y="374812"/>
                  </a:lnTo>
                  <a:lnTo>
                    <a:pt x="143308" y="371798"/>
                  </a:lnTo>
                  <a:lnTo>
                    <a:pt x="129015" y="367663"/>
                  </a:lnTo>
                  <a:lnTo>
                    <a:pt x="115213" y="362456"/>
                  </a:lnTo>
                  <a:lnTo>
                    <a:pt x="101949" y="356225"/>
                  </a:lnTo>
                  <a:lnTo>
                    <a:pt x="89272" y="349018"/>
                  </a:lnTo>
                  <a:lnTo>
                    <a:pt x="77231" y="340884"/>
                  </a:lnTo>
                  <a:lnTo>
                    <a:pt x="65875" y="331871"/>
                  </a:lnTo>
                  <a:lnTo>
                    <a:pt x="55251" y="322029"/>
                  </a:lnTo>
                  <a:lnTo>
                    <a:pt x="45409" y="311405"/>
                  </a:lnTo>
                  <a:lnTo>
                    <a:pt x="36396" y="300049"/>
                  </a:lnTo>
                  <a:lnTo>
                    <a:pt x="28262" y="288008"/>
                  </a:lnTo>
                  <a:lnTo>
                    <a:pt x="21055" y="275331"/>
                  </a:lnTo>
                  <a:lnTo>
                    <a:pt x="14824" y="262067"/>
                  </a:lnTo>
                  <a:lnTo>
                    <a:pt x="9617" y="248265"/>
                  </a:lnTo>
                  <a:lnTo>
                    <a:pt x="5482" y="233973"/>
                  </a:lnTo>
                  <a:lnTo>
                    <a:pt x="2468" y="219238"/>
                  </a:lnTo>
                  <a:lnTo>
                    <a:pt x="625" y="204111"/>
                  </a:lnTo>
                  <a:lnTo>
                    <a:pt x="0" y="188640"/>
                  </a:lnTo>
                  <a:close/>
                </a:path>
              </a:pathLst>
            </a:custGeom>
            <a:solidFill>
              <a:srgbClr val="118552"/>
            </a:solidFill>
            <a:ln w="25400">
              <a:solidFill>
                <a:srgbClr val="FEFFFE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58" name="object 10">
              <a:extLst>
                <a:ext uri="{FF2B5EF4-FFF2-40B4-BE49-F238E27FC236}">
                  <a16:creationId xmlns:a16="http://schemas.microsoft.com/office/drawing/2014/main" id="{185D871B-AD66-44CE-AEE6-59AEBB9EE404}"/>
                </a:ext>
              </a:extLst>
            </p:cNvPr>
            <p:cNvSpPr txBox="1"/>
            <p:nvPr/>
          </p:nvSpPr>
          <p:spPr bwMode="gray">
            <a:xfrm>
              <a:off x="8506253" y="6415931"/>
              <a:ext cx="101347" cy="126999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12700" algn="ctr">
                <a:lnSpc>
                  <a:spcPts val="940"/>
                </a:lnSpc>
                <a:spcBef>
                  <a:spcPts val="47"/>
                </a:spcBef>
              </a:pPr>
              <a:fld id="{FFDA91BC-3AD5-415A-87C3-C1CCB1AB37DC}" type="slidenum">
                <a:rPr lang="en-US" sz="900">
                  <a:solidFill>
                    <a:srgbClr val="FFFFFF"/>
                  </a:solidFill>
                  <a:latin typeface="Century Gothic" panose="020B0502020202020204" pitchFamily="34" charset="0"/>
                  <a:cs typeface="Calibri"/>
                </a:rPr>
                <a:t>2</a:t>
              </a:fld>
              <a:endParaRPr sz="900" dirty="0">
                <a:solidFill>
                  <a:srgbClr val="FFFFFF"/>
                </a:solidFill>
                <a:latin typeface="Century Gothic" panose="020B0502020202020204" pitchFamily="34" charset="0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6851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bject 35"/>
          <p:cNvSpPr/>
          <p:nvPr/>
        </p:nvSpPr>
        <p:spPr bwMode="gray">
          <a:xfrm>
            <a:off x="1" y="0"/>
            <a:ext cx="330200" cy="338782"/>
          </a:xfrm>
          <a:custGeom>
            <a:avLst/>
            <a:gdLst/>
            <a:ahLst/>
            <a:cxnLst/>
            <a:rect l="l" t="t" r="r" b="b"/>
            <a:pathLst>
              <a:path w="330200" h="338782">
                <a:moveTo>
                  <a:pt x="0" y="338782"/>
                </a:moveTo>
                <a:lnTo>
                  <a:pt x="330200" y="338782"/>
                </a:lnTo>
                <a:lnTo>
                  <a:pt x="330200" y="0"/>
                </a:lnTo>
                <a:lnTo>
                  <a:pt x="0" y="0"/>
                </a:lnTo>
                <a:lnTo>
                  <a:pt x="0" y="338782"/>
                </a:lnTo>
                <a:close/>
              </a:path>
            </a:pathLst>
          </a:custGeom>
          <a:solidFill>
            <a:srgbClr val="11855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 bwMode="gray">
          <a:xfrm>
            <a:off x="8360319" y="6288496"/>
            <a:ext cx="377281" cy="377281"/>
          </a:xfrm>
          <a:custGeom>
            <a:avLst/>
            <a:gdLst/>
            <a:ahLst/>
            <a:cxnLst/>
            <a:rect l="l" t="t" r="r" b="b"/>
            <a:pathLst>
              <a:path w="377281" h="377281">
                <a:moveTo>
                  <a:pt x="0" y="188640"/>
                </a:moveTo>
                <a:lnTo>
                  <a:pt x="625" y="173169"/>
                </a:lnTo>
                <a:lnTo>
                  <a:pt x="2468" y="158042"/>
                </a:lnTo>
                <a:lnTo>
                  <a:pt x="5482" y="143308"/>
                </a:lnTo>
                <a:lnTo>
                  <a:pt x="9617" y="129015"/>
                </a:lnTo>
                <a:lnTo>
                  <a:pt x="14824" y="115213"/>
                </a:lnTo>
                <a:lnTo>
                  <a:pt x="21055" y="101949"/>
                </a:lnTo>
                <a:lnTo>
                  <a:pt x="28262" y="89272"/>
                </a:lnTo>
                <a:lnTo>
                  <a:pt x="36396" y="77231"/>
                </a:lnTo>
                <a:lnTo>
                  <a:pt x="45409" y="65875"/>
                </a:lnTo>
                <a:lnTo>
                  <a:pt x="55251" y="55251"/>
                </a:lnTo>
                <a:lnTo>
                  <a:pt x="65875" y="45409"/>
                </a:lnTo>
                <a:lnTo>
                  <a:pt x="77231" y="36396"/>
                </a:lnTo>
                <a:lnTo>
                  <a:pt x="89272" y="28262"/>
                </a:lnTo>
                <a:lnTo>
                  <a:pt x="101949" y="21055"/>
                </a:lnTo>
                <a:lnTo>
                  <a:pt x="115213" y="14824"/>
                </a:lnTo>
                <a:lnTo>
                  <a:pt x="129015" y="9617"/>
                </a:lnTo>
                <a:lnTo>
                  <a:pt x="143308" y="5482"/>
                </a:lnTo>
                <a:lnTo>
                  <a:pt x="158042" y="2468"/>
                </a:lnTo>
                <a:lnTo>
                  <a:pt x="173169" y="625"/>
                </a:lnTo>
                <a:lnTo>
                  <a:pt x="188640" y="0"/>
                </a:lnTo>
                <a:lnTo>
                  <a:pt x="204111" y="625"/>
                </a:lnTo>
                <a:lnTo>
                  <a:pt x="219238" y="2468"/>
                </a:lnTo>
                <a:lnTo>
                  <a:pt x="233973" y="5482"/>
                </a:lnTo>
                <a:lnTo>
                  <a:pt x="248265" y="9617"/>
                </a:lnTo>
                <a:lnTo>
                  <a:pt x="262067" y="14824"/>
                </a:lnTo>
                <a:lnTo>
                  <a:pt x="275331" y="21055"/>
                </a:lnTo>
                <a:lnTo>
                  <a:pt x="288008" y="28262"/>
                </a:lnTo>
                <a:lnTo>
                  <a:pt x="300049" y="36396"/>
                </a:lnTo>
                <a:lnTo>
                  <a:pt x="311405" y="45409"/>
                </a:lnTo>
                <a:lnTo>
                  <a:pt x="322029" y="55251"/>
                </a:lnTo>
                <a:lnTo>
                  <a:pt x="331871" y="65875"/>
                </a:lnTo>
                <a:lnTo>
                  <a:pt x="340884" y="77231"/>
                </a:lnTo>
                <a:lnTo>
                  <a:pt x="349018" y="89272"/>
                </a:lnTo>
                <a:lnTo>
                  <a:pt x="356225" y="101949"/>
                </a:lnTo>
                <a:lnTo>
                  <a:pt x="362456" y="115213"/>
                </a:lnTo>
                <a:lnTo>
                  <a:pt x="367663" y="129015"/>
                </a:lnTo>
                <a:lnTo>
                  <a:pt x="371798" y="143308"/>
                </a:lnTo>
                <a:lnTo>
                  <a:pt x="374812" y="158042"/>
                </a:lnTo>
                <a:lnTo>
                  <a:pt x="376655" y="173169"/>
                </a:lnTo>
                <a:lnTo>
                  <a:pt x="377281" y="188640"/>
                </a:lnTo>
                <a:lnTo>
                  <a:pt x="376655" y="204111"/>
                </a:lnTo>
                <a:lnTo>
                  <a:pt x="374812" y="219238"/>
                </a:lnTo>
                <a:lnTo>
                  <a:pt x="371798" y="233973"/>
                </a:lnTo>
                <a:lnTo>
                  <a:pt x="367663" y="248265"/>
                </a:lnTo>
                <a:lnTo>
                  <a:pt x="362456" y="262067"/>
                </a:lnTo>
                <a:lnTo>
                  <a:pt x="356225" y="275331"/>
                </a:lnTo>
                <a:lnTo>
                  <a:pt x="349018" y="288008"/>
                </a:lnTo>
                <a:lnTo>
                  <a:pt x="340884" y="300049"/>
                </a:lnTo>
                <a:lnTo>
                  <a:pt x="331871" y="311405"/>
                </a:lnTo>
                <a:lnTo>
                  <a:pt x="322029" y="322029"/>
                </a:lnTo>
                <a:lnTo>
                  <a:pt x="311405" y="331871"/>
                </a:lnTo>
                <a:lnTo>
                  <a:pt x="300049" y="340884"/>
                </a:lnTo>
                <a:lnTo>
                  <a:pt x="288008" y="349018"/>
                </a:lnTo>
                <a:lnTo>
                  <a:pt x="275331" y="356225"/>
                </a:lnTo>
                <a:lnTo>
                  <a:pt x="262067" y="362456"/>
                </a:lnTo>
                <a:lnTo>
                  <a:pt x="248265" y="367663"/>
                </a:lnTo>
                <a:lnTo>
                  <a:pt x="233973" y="371798"/>
                </a:lnTo>
                <a:lnTo>
                  <a:pt x="219238" y="374812"/>
                </a:lnTo>
                <a:lnTo>
                  <a:pt x="204111" y="376655"/>
                </a:lnTo>
                <a:lnTo>
                  <a:pt x="188640" y="377281"/>
                </a:lnTo>
                <a:lnTo>
                  <a:pt x="173169" y="376655"/>
                </a:lnTo>
                <a:lnTo>
                  <a:pt x="158042" y="374812"/>
                </a:lnTo>
                <a:lnTo>
                  <a:pt x="143308" y="371798"/>
                </a:lnTo>
                <a:lnTo>
                  <a:pt x="129015" y="367663"/>
                </a:lnTo>
                <a:lnTo>
                  <a:pt x="115213" y="362456"/>
                </a:lnTo>
                <a:lnTo>
                  <a:pt x="101949" y="356225"/>
                </a:lnTo>
                <a:lnTo>
                  <a:pt x="89272" y="349018"/>
                </a:lnTo>
                <a:lnTo>
                  <a:pt x="77231" y="340884"/>
                </a:lnTo>
                <a:lnTo>
                  <a:pt x="65875" y="331871"/>
                </a:lnTo>
                <a:lnTo>
                  <a:pt x="55251" y="322029"/>
                </a:lnTo>
                <a:lnTo>
                  <a:pt x="45409" y="311405"/>
                </a:lnTo>
                <a:lnTo>
                  <a:pt x="36396" y="300049"/>
                </a:lnTo>
                <a:lnTo>
                  <a:pt x="28262" y="288008"/>
                </a:lnTo>
                <a:lnTo>
                  <a:pt x="21055" y="275331"/>
                </a:lnTo>
                <a:lnTo>
                  <a:pt x="14824" y="262067"/>
                </a:lnTo>
                <a:lnTo>
                  <a:pt x="9617" y="248265"/>
                </a:lnTo>
                <a:lnTo>
                  <a:pt x="5482" y="233973"/>
                </a:lnTo>
                <a:lnTo>
                  <a:pt x="2468" y="219238"/>
                </a:lnTo>
                <a:lnTo>
                  <a:pt x="625" y="204111"/>
                </a:lnTo>
                <a:lnTo>
                  <a:pt x="0" y="188640"/>
                </a:lnTo>
                <a:close/>
              </a:path>
            </a:pathLst>
          </a:custGeom>
          <a:ln w="25400">
            <a:solidFill>
              <a:srgbClr val="FEFFFE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endParaRPr/>
          </a:p>
        </p:txBody>
      </p:sp>
      <p:sp>
        <p:nvSpPr>
          <p:cNvPr id="37" name="object 30"/>
          <p:cNvSpPr/>
          <p:nvPr/>
        </p:nvSpPr>
        <p:spPr bwMode="gray">
          <a:xfrm>
            <a:off x="406400" y="6236899"/>
            <a:ext cx="8331200" cy="1"/>
          </a:xfrm>
          <a:custGeom>
            <a:avLst/>
            <a:gdLst/>
            <a:ahLst/>
            <a:cxnLst/>
            <a:rect l="l" t="t" r="r" b="b"/>
            <a:pathLst>
              <a:path w="8331200" h="1">
                <a:moveTo>
                  <a:pt x="0" y="0"/>
                </a:moveTo>
                <a:lnTo>
                  <a:pt x="8331200" y="1"/>
                </a:lnTo>
              </a:path>
            </a:pathLst>
          </a:custGeom>
          <a:ln w="9525">
            <a:solidFill>
              <a:srgbClr val="A6A5A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33"/>
          <p:cNvSpPr/>
          <p:nvPr/>
        </p:nvSpPr>
        <p:spPr>
          <a:xfrm>
            <a:off x="478197" y="6331030"/>
            <a:ext cx="1948732" cy="213151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398625" b="1"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7"/>
          <p:cNvSpPr txBox="1"/>
          <p:nvPr/>
        </p:nvSpPr>
        <p:spPr>
          <a:xfrm>
            <a:off x="478197" y="335974"/>
            <a:ext cx="6826947" cy="2791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688">
              <a:lnSpc>
                <a:spcPts val="2178"/>
              </a:lnSpc>
              <a:spcBef>
                <a:spcPts val="109"/>
              </a:spcBef>
            </a:pPr>
            <a:r>
              <a:rPr lang="en-GB" sz="1998" spc="-4" dirty="0">
                <a:latin typeface="Century Gothic" panose="020B0502020202020204" pitchFamily="34" charset="0"/>
                <a:cs typeface="Century Gothic"/>
              </a:rPr>
              <a:t>KEY TARGETS OF THE NEP</a:t>
            </a:r>
            <a:endParaRPr sz="1998" dirty="0">
              <a:latin typeface="Century Gothic" panose="020B0502020202020204" pitchFamily="34" charset="0"/>
              <a:cs typeface="Century Gothic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94F2DD-97FC-40E2-B093-816A8F453F1F}"/>
              </a:ext>
            </a:extLst>
          </p:cNvPr>
          <p:cNvSpPr txBox="1"/>
          <p:nvPr/>
        </p:nvSpPr>
        <p:spPr bwMode="gray">
          <a:xfrm>
            <a:off x="1977923" y="4926439"/>
            <a:ext cx="6382396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14400">
              <a:spcBef>
                <a:spcPts val="1200"/>
              </a:spcBef>
            </a:pPr>
            <a:r>
              <a:rPr lang="en-US" b="1" dirty="0">
                <a:latin typeface="Century Gothic" charset="0"/>
              </a:rPr>
              <a:t>2.5 million people </a:t>
            </a:r>
            <a:r>
              <a:rPr lang="en-US" dirty="0">
                <a:latin typeface="Century Gothic" charset="0"/>
              </a:rPr>
              <a:t>provided with new or improved electricity service</a:t>
            </a:r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89D525CD-9204-45AF-9DB4-A4EAD6D01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118653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18" y="4847971"/>
            <a:ext cx="793945" cy="793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2FF0431-C89D-47C3-A478-47BA9085D33A}"/>
              </a:ext>
            </a:extLst>
          </p:cNvPr>
          <p:cNvSpPr txBox="1"/>
          <p:nvPr/>
        </p:nvSpPr>
        <p:spPr>
          <a:xfrm>
            <a:off x="1834929" y="1052485"/>
            <a:ext cx="44582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Century Gothic"/>
                <a:cs typeface="Century Gothic"/>
              </a:rPr>
              <a:t>Electrify </a:t>
            </a:r>
            <a:r>
              <a:rPr lang="en-US" b="1" dirty="0">
                <a:latin typeface="Century Gothic"/>
                <a:cs typeface="Century Gothic"/>
              </a:rPr>
              <a:t>500,000</a:t>
            </a:r>
            <a:r>
              <a:rPr lang="en-US" dirty="0">
                <a:latin typeface="Century Gothic"/>
                <a:cs typeface="Century Gothic"/>
              </a:rPr>
              <a:t> households</a:t>
            </a:r>
          </a:p>
          <a:p>
            <a:r>
              <a:rPr lang="en-US" dirty="0">
                <a:latin typeface="Century Gothic"/>
                <a:cs typeface="Century Gothic"/>
              </a:rPr>
              <a:t>(of which </a:t>
            </a:r>
            <a:r>
              <a:rPr lang="en-US" b="1" dirty="0">
                <a:latin typeface="Century Gothic"/>
                <a:cs typeface="Century Gothic"/>
              </a:rPr>
              <a:t>50,000</a:t>
            </a:r>
            <a:r>
              <a:rPr lang="en-US" dirty="0">
                <a:latin typeface="Century Gothic"/>
                <a:cs typeface="Century Gothic"/>
              </a:rPr>
              <a:t> headed by women)  </a:t>
            </a:r>
          </a:p>
        </p:txBody>
      </p:sp>
      <p:pic>
        <p:nvPicPr>
          <p:cNvPr id="17" name="Picture 3">
            <a:extLst>
              <a:ext uri="{FF2B5EF4-FFF2-40B4-BE49-F238E27FC236}">
                <a16:creationId xmlns:a16="http://schemas.microsoft.com/office/drawing/2014/main" id="{3CB5EFA3-35D2-460B-8C9F-915B35F94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rgbClr val="118653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367" y="1928353"/>
            <a:ext cx="1325221" cy="1325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F6B7E12-5B9E-48EA-BB25-F27981B1F4B8}"/>
              </a:ext>
            </a:extLst>
          </p:cNvPr>
          <p:cNvCxnSpPr/>
          <p:nvPr/>
        </p:nvCxnSpPr>
        <p:spPr>
          <a:xfrm>
            <a:off x="1869947" y="1928353"/>
            <a:ext cx="6518485" cy="0"/>
          </a:xfrm>
          <a:prstGeom prst="line">
            <a:avLst/>
          </a:prstGeom>
          <a:ln w="12700" cmpd="sng">
            <a:solidFill>
              <a:srgbClr val="118552"/>
            </a:solidFill>
            <a:prstDash val="dash"/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04B64D99-38EB-4BC1-92D9-4CD2EB0EE979}"/>
              </a:ext>
            </a:extLst>
          </p:cNvPr>
          <p:cNvSpPr txBox="1"/>
          <p:nvPr/>
        </p:nvSpPr>
        <p:spPr>
          <a:xfrm>
            <a:off x="1834929" y="2110104"/>
            <a:ext cx="69026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entury Gothic"/>
                <a:cs typeface="Century Gothic"/>
              </a:rPr>
              <a:t>Electrify </a:t>
            </a:r>
            <a:r>
              <a:rPr lang="en-US" b="1" dirty="0">
                <a:latin typeface="Century Gothic"/>
                <a:cs typeface="Century Gothic"/>
              </a:rPr>
              <a:t>70,000</a:t>
            </a:r>
            <a:r>
              <a:rPr lang="en-US" dirty="0">
                <a:latin typeface="Century Gothic"/>
                <a:cs typeface="Century Gothic"/>
              </a:rPr>
              <a:t> micro-, small- and medium-sized enterprises (MSMEs)provided with new or improved electricity service</a:t>
            </a:r>
          </a:p>
          <a:p>
            <a:r>
              <a:rPr lang="en-US" dirty="0">
                <a:latin typeface="Century Gothic"/>
                <a:cs typeface="Century Gothic"/>
              </a:rPr>
              <a:t>(of which </a:t>
            </a:r>
            <a:r>
              <a:rPr lang="en-US" b="1" dirty="0">
                <a:latin typeface="Century Gothic" charset="0"/>
                <a:ea typeface="Century Gothic" charset="0"/>
                <a:cs typeface="Century Gothic" charset="0"/>
              </a:rPr>
              <a:t>7,000</a:t>
            </a:r>
            <a:r>
              <a:rPr lang="en-US" dirty="0">
                <a:latin typeface="Century Gothic" charset="0"/>
                <a:ea typeface="Century Gothic" charset="0"/>
                <a:cs typeface="Century Gothic" charset="0"/>
              </a:rPr>
              <a:t> are female-headed MSMEs</a:t>
            </a:r>
            <a:r>
              <a:rPr lang="en-US" dirty="0">
                <a:latin typeface="Century Gothic"/>
                <a:cs typeface="Century Gothic"/>
              </a:rPr>
              <a:t>)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9C015D8-5FBA-4876-BCEB-0735111CEDDC}"/>
              </a:ext>
            </a:extLst>
          </p:cNvPr>
          <p:cNvCxnSpPr/>
          <p:nvPr/>
        </p:nvCxnSpPr>
        <p:spPr>
          <a:xfrm>
            <a:off x="1869947" y="3253574"/>
            <a:ext cx="6518485" cy="0"/>
          </a:xfrm>
          <a:prstGeom prst="line">
            <a:avLst/>
          </a:prstGeom>
          <a:ln w="12700" cmpd="sng">
            <a:solidFill>
              <a:srgbClr val="118552"/>
            </a:solidFill>
            <a:prstDash val="dash"/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13337C6-F204-473E-B95A-8686461E3377}"/>
              </a:ext>
            </a:extLst>
          </p:cNvPr>
          <p:cNvCxnSpPr/>
          <p:nvPr/>
        </p:nvCxnSpPr>
        <p:spPr>
          <a:xfrm>
            <a:off x="1869947" y="4546101"/>
            <a:ext cx="6518485" cy="0"/>
          </a:xfrm>
          <a:prstGeom prst="line">
            <a:avLst/>
          </a:prstGeom>
          <a:ln w="12700" cmpd="sng">
            <a:solidFill>
              <a:srgbClr val="118552"/>
            </a:solidFill>
            <a:prstDash val="dash"/>
            <a:headEnd type="non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FE774AB-138F-407E-925F-12F282B18590}"/>
              </a:ext>
            </a:extLst>
          </p:cNvPr>
          <p:cNvGrpSpPr/>
          <p:nvPr/>
        </p:nvGrpSpPr>
        <p:grpSpPr>
          <a:xfrm>
            <a:off x="544781" y="3459042"/>
            <a:ext cx="907782" cy="793946"/>
            <a:chOff x="5615436" y="4313017"/>
            <a:chExt cx="620242" cy="584706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E0D02C76-992F-488F-9CA4-00410C87EA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rgbClr val="97FF9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1303" y="4520129"/>
              <a:ext cx="554375" cy="377594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5AF36E93-D82C-465E-B6FB-FA004DF935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prstClr val="black"/>
                <a:srgbClr val="97FF9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5436" y="4313017"/>
              <a:ext cx="478048" cy="334703"/>
            </a:xfrm>
            <a:prstGeom prst="rect">
              <a:avLst/>
            </a:prstGeom>
          </p:spPr>
        </p:pic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AC51E988-FF16-4300-977B-E44EC9A97716}"/>
              </a:ext>
            </a:extLst>
          </p:cNvPr>
          <p:cNvSpPr txBox="1"/>
          <p:nvPr/>
        </p:nvSpPr>
        <p:spPr>
          <a:xfrm>
            <a:off x="1869947" y="3605995"/>
            <a:ext cx="69026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b="1" dirty="0">
                <a:latin typeface="Century Gothic" charset="0"/>
                <a:ea typeface="Century Gothic" charset="0"/>
                <a:cs typeface="Century Gothic" charset="0"/>
              </a:rPr>
              <a:t>7 federal universities and teaching hospitals</a:t>
            </a:r>
            <a:r>
              <a:rPr lang="en-US" dirty="0">
                <a:latin typeface="Century Gothic" charset="0"/>
                <a:ea typeface="Century Gothic" charset="0"/>
                <a:cs typeface="Century Gothic" charset="0"/>
              </a:rPr>
              <a:t> provided with new or improved electricity services</a:t>
            </a:r>
            <a:r>
              <a:rPr lang="en-US" dirty="0">
                <a:latin typeface="Century Gothic"/>
                <a:cs typeface="Century Gothic"/>
              </a:rPr>
              <a:t>) </a:t>
            </a:r>
          </a:p>
        </p:txBody>
      </p:sp>
      <p:pic>
        <p:nvPicPr>
          <p:cNvPr id="3" name="Graphic 2" descr="House">
            <a:extLst>
              <a:ext uri="{FF2B5EF4-FFF2-40B4-BE49-F238E27FC236}">
                <a16:creationId xmlns:a16="http://schemas.microsoft.com/office/drawing/2014/main" id="{4EE2B9BA-E77B-4D49-B916-AE1205AC89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8197" y="918450"/>
            <a:ext cx="914400" cy="91440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E912338D-21F4-4100-9E4E-0D43F2FFB8EA}"/>
              </a:ext>
            </a:extLst>
          </p:cNvPr>
          <p:cNvGrpSpPr/>
          <p:nvPr/>
        </p:nvGrpSpPr>
        <p:grpSpPr>
          <a:xfrm>
            <a:off x="8360319" y="6287044"/>
            <a:ext cx="377281" cy="377281"/>
            <a:chOff x="8360319" y="6287044"/>
            <a:chExt cx="377281" cy="377281"/>
          </a:xfrm>
        </p:grpSpPr>
        <p:sp>
          <p:nvSpPr>
            <p:cNvPr id="27" name="object 32">
              <a:extLst>
                <a:ext uri="{FF2B5EF4-FFF2-40B4-BE49-F238E27FC236}">
                  <a16:creationId xmlns:a16="http://schemas.microsoft.com/office/drawing/2014/main" id="{1FF99781-8B42-4A34-9E72-D2B7C7ACFA8D}"/>
                </a:ext>
              </a:extLst>
            </p:cNvPr>
            <p:cNvSpPr/>
            <p:nvPr/>
          </p:nvSpPr>
          <p:spPr bwMode="gray">
            <a:xfrm>
              <a:off x="8360319" y="6287044"/>
              <a:ext cx="377281" cy="377281"/>
            </a:xfrm>
            <a:custGeom>
              <a:avLst/>
              <a:gdLst/>
              <a:ahLst/>
              <a:cxnLst/>
              <a:rect l="l" t="t" r="r" b="b"/>
              <a:pathLst>
                <a:path w="377281" h="377281">
                  <a:moveTo>
                    <a:pt x="0" y="188640"/>
                  </a:moveTo>
                  <a:lnTo>
                    <a:pt x="625" y="173169"/>
                  </a:lnTo>
                  <a:lnTo>
                    <a:pt x="2468" y="158042"/>
                  </a:lnTo>
                  <a:lnTo>
                    <a:pt x="5482" y="143308"/>
                  </a:lnTo>
                  <a:lnTo>
                    <a:pt x="9617" y="129015"/>
                  </a:lnTo>
                  <a:lnTo>
                    <a:pt x="14824" y="115213"/>
                  </a:lnTo>
                  <a:lnTo>
                    <a:pt x="21055" y="101949"/>
                  </a:lnTo>
                  <a:lnTo>
                    <a:pt x="28262" y="89272"/>
                  </a:lnTo>
                  <a:lnTo>
                    <a:pt x="36396" y="77231"/>
                  </a:lnTo>
                  <a:lnTo>
                    <a:pt x="45409" y="65875"/>
                  </a:lnTo>
                  <a:lnTo>
                    <a:pt x="55251" y="55251"/>
                  </a:lnTo>
                  <a:lnTo>
                    <a:pt x="65875" y="45409"/>
                  </a:lnTo>
                  <a:lnTo>
                    <a:pt x="77231" y="36396"/>
                  </a:lnTo>
                  <a:lnTo>
                    <a:pt x="89272" y="28262"/>
                  </a:lnTo>
                  <a:lnTo>
                    <a:pt x="101949" y="21055"/>
                  </a:lnTo>
                  <a:lnTo>
                    <a:pt x="115213" y="14824"/>
                  </a:lnTo>
                  <a:lnTo>
                    <a:pt x="129015" y="9617"/>
                  </a:lnTo>
                  <a:lnTo>
                    <a:pt x="143308" y="5482"/>
                  </a:lnTo>
                  <a:lnTo>
                    <a:pt x="158042" y="2468"/>
                  </a:lnTo>
                  <a:lnTo>
                    <a:pt x="173169" y="625"/>
                  </a:lnTo>
                  <a:lnTo>
                    <a:pt x="188640" y="0"/>
                  </a:lnTo>
                  <a:lnTo>
                    <a:pt x="204111" y="625"/>
                  </a:lnTo>
                  <a:lnTo>
                    <a:pt x="219238" y="2468"/>
                  </a:lnTo>
                  <a:lnTo>
                    <a:pt x="233973" y="5482"/>
                  </a:lnTo>
                  <a:lnTo>
                    <a:pt x="248265" y="9617"/>
                  </a:lnTo>
                  <a:lnTo>
                    <a:pt x="262067" y="14824"/>
                  </a:lnTo>
                  <a:lnTo>
                    <a:pt x="275331" y="21055"/>
                  </a:lnTo>
                  <a:lnTo>
                    <a:pt x="288008" y="28262"/>
                  </a:lnTo>
                  <a:lnTo>
                    <a:pt x="300049" y="36396"/>
                  </a:lnTo>
                  <a:lnTo>
                    <a:pt x="311405" y="45409"/>
                  </a:lnTo>
                  <a:lnTo>
                    <a:pt x="322029" y="55251"/>
                  </a:lnTo>
                  <a:lnTo>
                    <a:pt x="331871" y="65875"/>
                  </a:lnTo>
                  <a:lnTo>
                    <a:pt x="340884" y="77231"/>
                  </a:lnTo>
                  <a:lnTo>
                    <a:pt x="349018" y="89272"/>
                  </a:lnTo>
                  <a:lnTo>
                    <a:pt x="356225" y="101949"/>
                  </a:lnTo>
                  <a:lnTo>
                    <a:pt x="362456" y="115213"/>
                  </a:lnTo>
                  <a:lnTo>
                    <a:pt x="367663" y="129015"/>
                  </a:lnTo>
                  <a:lnTo>
                    <a:pt x="371798" y="143308"/>
                  </a:lnTo>
                  <a:lnTo>
                    <a:pt x="374812" y="158042"/>
                  </a:lnTo>
                  <a:lnTo>
                    <a:pt x="376655" y="173169"/>
                  </a:lnTo>
                  <a:lnTo>
                    <a:pt x="377281" y="188640"/>
                  </a:lnTo>
                  <a:lnTo>
                    <a:pt x="376655" y="204111"/>
                  </a:lnTo>
                  <a:lnTo>
                    <a:pt x="374812" y="219238"/>
                  </a:lnTo>
                  <a:lnTo>
                    <a:pt x="371798" y="233973"/>
                  </a:lnTo>
                  <a:lnTo>
                    <a:pt x="367663" y="248265"/>
                  </a:lnTo>
                  <a:lnTo>
                    <a:pt x="362456" y="262067"/>
                  </a:lnTo>
                  <a:lnTo>
                    <a:pt x="356225" y="275331"/>
                  </a:lnTo>
                  <a:lnTo>
                    <a:pt x="349018" y="288008"/>
                  </a:lnTo>
                  <a:lnTo>
                    <a:pt x="340884" y="300049"/>
                  </a:lnTo>
                  <a:lnTo>
                    <a:pt x="331871" y="311405"/>
                  </a:lnTo>
                  <a:lnTo>
                    <a:pt x="322029" y="322029"/>
                  </a:lnTo>
                  <a:lnTo>
                    <a:pt x="311405" y="331871"/>
                  </a:lnTo>
                  <a:lnTo>
                    <a:pt x="300049" y="340884"/>
                  </a:lnTo>
                  <a:lnTo>
                    <a:pt x="288008" y="349018"/>
                  </a:lnTo>
                  <a:lnTo>
                    <a:pt x="275331" y="356225"/>
                  </a:lnTo>
                  <a:lnTo>
                    <a:pt x="262067" y="362456"/>
                  </a:lnTo>
                  <a:lnTo>
                    <a:pt x="248265" y="367663"/>
                  </a:lnTo>
                  <a:lnTo>
                    <a:pt x="233973" y="371798"/>
                  </a:lnTo>
                  <a:lnTo>
                    <a:pt x="219238" y="374812"/>
                  </a:lnTo>
                  <a:lnTo>
                    <a:pt x="204111" y="376655"/>
                  </a:lnTo>
                  <a:lnTo>
                    <a:pt x="188640" y="377281"/>
                  </a:lnTo>
                  <a:lnTo>
                    <a:pt x="173169" y="376655"/>
                  </a:lnTo>
                  <a:lnTo>
                    <a:pt x="158042" y="374812"/>
                  </a:lnTo>
                  <a:lnTo>
                    <a:pt x="143308" y="371798"/>
                  </a:lnTo>
                  <a:lnTo>
                    <a:pt x="129015" y="367663"/>
                  </a:lnTo>
                  <a:lnTo>
                    <a:pt x="115213" y="362456"/>
                  </a:lnTo>
                  <a:lnTo>
                    <a:pt x="101949" y="356225"/>
                  </a:lnTo>
                  <a:lnTo>
                    <a:pt x="89272" y="349018"/>
                  </a:lnTo>
                  <a:lnTo>
                    <a:pt x="77231" y="340884"/>
                  </a:lnTo>
                  <a:lnTo>
                    <a:pt x="65875" y="331871"/>
                  </a:lnTo>
                  <a:lnTo>
                    <a:pt x="55251" y="322029"/>
                  </a:lnTo>
                  <a:lnTo>
                    <a:pt x="45409" y="311405"/>
                  </a:lnTo>
                  <a:lnTo>
                    <a:pt x="36396" y="300049"/>
                  </a:lnTo>
                  <a:lnTo>
                    <a:pt x="28262" y="288008"/>
                  </a:lnTo>
                  <a:lnTo>
                    <a:pt x="21055" y="275331"/>
                  </a:lnTo>
                  <a:lnTo>
                    <a:pt x="14824" y="262067"/>
                  </a:lnTo>
                  <a:lnTo>
                    <a:pt x="9617" y="248265"/>
                  </a:lnTo>
                  <a:lnTo>
                    <a:pt x="5482" y="233973"/>
                  </a:lnTo>
                  <a:lnTo>
                    <a:pt x="2468" y="219238"/>
                  </a:lnTo>
                  <a:lnTo>
                    <a:pt x="625" y="204111"/>
                  </a:lnTo>
                  <a:lnTo>
                    <a:pt x="0" y="188640"/>
                  </a:lnTo>
                  <a:close/>
                </a:path>
              </a:pathLst>
            </a:custGeom>
            <a:solidFill>
              <a:srgbClr val="118552"/>
            </a:solidFill>
            <a:ln w="25400">
              <a:solidFill>
                <a:srgbClr val="FEFFFE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28" name="object 10">
              <a:extLst>
                <a:ext uri="{FF2B5EF4-FFF2-40B4-BE49-F238E27FC236}">
                  <a16:creationId xmlns:a16="http://schemas.microsoft.com/office/drawing/2014/main" id="{52AFC938-9A52-4BBE-8A0A-DEB5CFB0C18B}"/>
                </a:ext>
              </a:extLst>
            </p:cNvPr>
            <p:cNvSpPr txBox="1"/>
            <p:nvPr/>
          </p:nvSpPr>
          <p:spPr bwMode="gray">
            <a:xfrm>
              <a:off x="8506253" y="6415931"/>
              <a:ext cx="101347" cy="126999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12700" algn="ctr">
                <a:lnSpc>
                  <a:spcPts val="940"/>
                </a:lnSpc>
                <a:spcBef>
                  <a:spcPts val="47"/>
                </a:spcBef>
              </a:pPr>
              <a:fld id="{FFDA91BC-3AD5-415A-87C3-C1CCB1AB37DC}" type="slidenum">
                <a:rPr lang="en-US" sz="900">
                  <a:solidFill>
                    <a:srgbClr val="FFFFFF"/>
                  </a:solidFill>
                  <a:latin typeface="Century Gothic" panose="020B0502020202020204" pitchFamily="34" charset="0"/>
                  <a:cs typeface="Calibri"/>
                </a:rPr>
                <a:t>3</a:t>
              </a:fld>
              <a:endParaRPr sz="900" dirty="0">
                <a:solidFill>
                  <a:srgbClr val="FFFFFF"/>
                </a:solidFill>
                <a:latin typeface="Century Gothic" panose="020B0502020202020204" pitchFamily="34" charset="0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9651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bject 35"/>
          <p:cNvSpPr/>
          <p:nvPr/>
        </p:nvSpPr>
        <p:spPr>
          <a:xfrm>
            <a:off x="1" y="0"/>
            <a:ext cx="330200" cy="338782"/>
          </a:xfrm>
          <a:custGeom>
            <a:avLst/>
            <a:gdLst/>
            <a:ahLst/>
            <a:cxnLst/>
            <a:rect l="l" t="t" r="r" b="b"/>
            <a:pathLst>
              <a:path w="330200" h="338782">
                <a:moveTo>
                  <a:pt x="0" y="338782"/>
                </a:moveTo>
                <a:lnTo>
                  <a:pt x="330200" y="338782"/>
                </a:lnTo>
                <a:lnTo>
                  <a:pt x="330200" y="0"/>
                </a:lnTo>
                <a:lnTo>
                  <a:pt x="0" y="0"/>
                </a:lnTo>
                <a:lnTo>
                  <a:pt x="0" y="338782"/>
                </a:lnTo>
                <a:close/>
              </a:path>
            </a:pathLst>
          </a:custGeom>
          <a:solidFill>
            <a:srgbClr val="118552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8505310" y="6141785"/>
            <a:ext cx="92134" cy="126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940"/>
              </a:lnSpc>
              <a:spcBef>
                <a:spcPts val="47"/>
              </a:spcBef>
            </a:pPr>
            <a:r>
              <a:rPr lang="en-US" sz="1200" baseline="3413" dirty="0">
                <a:solidFill>
                  <a:srgbClr val="FEFFFE"/>
                </a:solidFill>
                <a:latin typeface="Calibri"/>
                <a:cs typeface="Calibri"/>
              </a:rPr>
              <a:t>7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53" name="object 17"/>
          <p:cNvSpPr txBox="1"/>
          <p:nvPr/>
        </p:nvSpPr>
        <p:spPr>
          <a:xfrm>
            <a:off x="468697" y="258853"/>
            <a:ext cx="8053003" cy="3853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80"/>
              </a:lnSpc>
              <a:spcBef>
                <a:spcPts val="109"/>
              </a:spcBef>
            </a:pPr>
            <a:endParaRPr lang="en-US" sz="2000" dirty="0">
              <a:latin typeface="Century Gothic" pitchFamily="34" charset="0"/>
            </a:endParaRPr>
          </a:p>
          <a:p>
            <a:pPr marL="12700">
              <a:lnSpc>
                <a:spcPts val="2180"/>
              </a:lnSpc>
              <a:spcBef>
                <a:spcPts val="109"/>
              </a:spcBef>
            </a:pPr>
            <a:endParaRPr lang="en-US" sz="2000" b="1" dirty="0">
              <a:latin typeface="Century Gothic" pitchFamily="34" charset="0"/>
            </a:endParaRPr>
          </a:p>
        </p:txBody>
      </p:sp>
      <p:sp>
        <p:nvSpPr>
          <p:cNvPr id="12" name="object 30"/>
          <p:cNvSpPr/>
          <p:nvPr/>
        </p:nvSpPr>
        <p:spPr>
          <a:xfrm>
            <a:off x="406401" y="6244708"/>
            <a:ext cx="8331200" cy="1"/>
          </a:xfrm>
          <a:custGeom>
            <a:avLst/>
            <a:gdLst/>
            <a:ahLst/>
            <a:cxnLst/>
            <a:rect l="l" t="t" r="r" b="b"/>
            <a:pathLst>
              <a:path w="8331200" h="1">
                <a:moveTo>
                  <a:pt x="0" y="0"/>
                </a:moveTo>
                <a:lnTo>
                  <a:pt x="8331200" y="1"/>
                </a:lnTo>
              </a:path>
            </a:pathLst>
          </a:custGeom>
          <a:ln w="9525">
            <a:solidFill>
              <a:srgbClr val="A6A5A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4" name="object 33">
            <a:extLst>
              <a:ext uri="{FF2B5EF4-FFF2-40B4-BE49-F238E27FC236}">
                <a16:creationId xmlns:a16="http://schemas.microsoft.com/office/drawing/2014/main" id="{8160A1EB-A5F2-EB44-BFAF-95CC9CEA259A}"/>
              </a:ext>
            </a:extLst>
          </p:cNvPr>
          <p:cNvSpPr/>
          <p:nvPr/>
        </p:nvSpPr>
        <p:spPr>
          <a:xfrm>
            <a:off x="478197" y="5481358"/>
            <a:ext cx="1948732" cy="106282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10">
            <a:extLst>
              <a:ext uri="{FF2B5EF4-FFF2-40B4-BE49-F238E27FC236}">
                <a16:creationId xmlns:a16="http://schemas.microsoft.com/office/drawing/2014/main" id="{0340DDDA-BCC2-E64C-8119-32EA7568D987}"/>
              </a:ext>
            </a:extLst>
          </p:cNvPr>
          <p:cNvSpPr txBox="1"/>
          <p:nvPr/>
        </p:nvSpPr>
        <p:spPr>
          <a:xfrm>
            <a:off x="8495611" y="6415931"/>
            <a:ext cx="122630" cy="1269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ctr">
              <a:lnSpc>
                <a:spcPts val="940"/>
              </a:lnSpc>
              <a:spcBef>
                <a:spcPts val="47"/>
              </a:spcBef>
            </a:pPr>
            <a:fld id="{14B4BB9A-57C4-40F0-B761-0A001A7745D5}" type="slidenum">
              <a:rPr lang="en-US" sz="1200" baseline="3413" smtClean="0">
                <a:latin typeface="Century Gothic" panose="020B0502020202020204" pitchFamily="34" charset="0"/>
                <a:cs typeface="Calibri"/>
              </a:rPr>
              <a:t>4</a:t>
            </a:fld>
            <a:endParaRPr sz="800" dirty="0">
              <a:latin typeface="Century Gothic" panose="020B0502020202020204" pitchFamily="34" charset="0"/>
              <a:cs typeface="Calibri"/>
            </a:endParaRPr>
          </a:p>
        </p:txBody>
      </p:sp>
      <p:sp>
        <p:nvSpPr>
          <p:cNvPr id="31" name="object 17">
            <a:extLst>
              <a:ext uri="{FF2B5EF4-FFF2-40B4-BE49-F238E27FC236}">
                <a16:creationId xmlns:a16="http://schemas.microsoft.com/office/drawing/2014/main" id="{F2E05A45-0FBE-462F-A611-4E08C6CF111F}"/>
              </a:ext>
            </a:extLst>
          </p:cNvPr>
          <p:cNvSpPr txBox="1"/>
          <p:nvPr/>
        </p:nvSpPr>
        <p:spPr>
          <a:xfrm>
            <a:off x="478197" y="335974"/>
            <a:ext cx="6826947" cy="2791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688">
              <a:lnSpc>
                <a:spcPts val="2178"/>
              </a:lnSpc>
              <a:spcBef>
                <a:spcPts val="109"/>
              </a:spcBef>
            </a:pPr>
            <a:r>
              <a:rPr lang="en-GB" sz="1998" spc="-4" dirty="0">
                <a:latin typeface="Century Gothic" panose="020B0502020202020204" pitchFamily="34" charset="0"/>
                <a:cs typeface="Century Gothic"/>
              </a:rPr>
              <a:t>KEY MILESTONES OF THE NEP</a:t>
            </a:r>
            <a:endParaRPr sz="1998" dirty="0">
              <a:latin typeface="Century Gothic" panose="020B0502020202020204" pitchFamily="34" charset="0"/>
              <a:cs typeface="Century Gothic"/>
            </a:endParaRPr>
          </a:p>
        </p:txBody>
      </p:sp>
      <p:sp>
        <p:nvSpPr>
          <p:cNvPr id="28" name="Chevron 37">
            <a:extLst>
              <a:ext uri="{FF2B5EF4-FFF2-40B4-BE49-F238E27FC236}">
                <a16:creationId xmlns:a16="http://schemas.microsoft.com/office/drawing/2014/main" id="{95018B1B-67C0-4DFF-8909-4E38FCDBC195}"/>
              </a:ext>
            </a:extLst>
          </p:cNvPr>
          <p:cNvSpPr/>
          <p:nvPr/>
        </p:nvSpPr>
        <p:spPr bwMode="gray">
          <a:xfrm rot="5400000">
            <a:off x="512996" y="1435322"/>
            <a:ext cx="978410" cy="1228717"/>
          </a:xfrm>
          <a:prstGeom prst="chevron">
            <a:avLst>
              <a:gd name="adj" fmla="val 21907"/>
            </a:avLst>
          </a:prstGeom>
          <a:solidFill>
            <a:srgbClr val="118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/>
              <a:t>2018 Q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F2353E-F936-4AE4-A9C7-8C4C8D7099A4}"/>
              </a:ext>
            </a:extLst>
          </p:cNvPr>
          <p:cNvSpPr/>
          <p:nvPr/>
        </p:nvSpPr>
        <p:spPr>
          <a:xfrm>
            <a:off x="1715192" y="1556706"/>
            <a:ext cx="6624430" cy="795528"/>
          </a:xfrm>
          <a:prstGeom prst="rect">
            <a:avLst/>
          </a:prstGeom>
          <a:solidFill>
            <a:srgbClr val="118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b="1" dirty="0">
                <a:solidFill>
                  <a:schemeClr val="bg1"/>
                </a:solidFill>
                <a:latin typeface="Century Gothic" pitchFamily="34" charset="0"/>
                <a:cs typeface="Arial Narrow"/>
              </a:rPr>
              <a:t>Approval</a:t>
            </a:r>
          </a:p>
          <a:p>
            <a:pPr lvl="0"/>
            <a:r>
              <a:rPr lang="en-US" sz="1600" dirty="0">
                <a:solidFill>
                  <a:schemeClr val="bg1"/>
                </a:solidFill>
                <a:latin typeface="Century Gothic" pitchFamily="34" charset="0"/>
                <a:cs typeface="Arial Narrow"/>
              </a:rPr>
              <a:t>World Bank Board Approval of the NEP projects obtained </a:t>
            </a:r>
          </a:p>
        </p:txBody>
      </p:sp>
      <p:sp>
        <p:nvSpPr>
          <p:cNvPr id="41" name="Chevron 37">
            <a:extLst>
              <a:ext uri="{FF2B5EF4-FFF2-40B4-BE49-F238E27FC236}">
                <a16:creationId xmlns:a16="http://schemas.microsoft.com/office/drawing/2014/main" id="{F5866DD3-AA61-4574-B5A0-CD4E26E02774}"/>
              </a:ext>
            </a:extLst>
          </p:cNvPr>
          <p:cNvSpPr/>
          <p:nvPr/>
        </p:nvSpPr>
        <p:spPr bwMode="gray">
          <a:xfrm rot="5400000">
            <a:off x="502180" y="2463928"/>
            <a:ext cx="1000040" cy="1228717"/>
          </a:xfrm>
          <a:prstGeom prst="chevron">
            <a:avLst>
              <a:gd name="adj" fmla="val 21907"/>
            </a:avLst>
          </a:prstGeom>
          <a:solidFill>
            <a:srgbClr val="118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/>
              <a:t>2019 Q2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1241BCE-055C-4387-8B35-9E9E2C69F414}"/>
              </a:ext>
            </a:extLst>
          </p:cNvPr>
          <p:cNvSpPr/>
          <p:nvPr/>
        </p:nvSpPr>
        <p:spPr>
          <a:xfrm>
            <a:off x="1717331" y="2594393"/>
            <a:ext cx="6624430" cy="795528"/>
          </a:xfrm>
          <a:prstGeom prst="rect">
            <a:avLst/>
          </a:prstGeom>
          <a:solidFill>
            <a:srgbClr val="118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b="1" dirty="0">
                <a:solidFill>
                  <a:schemeClr val="bg1"/>
                </a:solidFill>
                <a:latin typeface="Century Gothic" pitchFamily="34" charset="0"/>
                <a:cs typeface="Arial Narrow"/>
              </a:rPr>
              <a:t>Start of NEP Implementation</a:t>
            </a:r>
          </a:p>
          <a:p>
            <a:pPr lvl="0"/>
            <a:r>
              <a:rPr lang="en-US" sz="1600" dirty="0">
                <a:solidFill>
                  <a:schemeClr val="bg1"/>
                </a:solidFill>
                <a:latin typeface="Century Gothic" pitchFamily="34" charset="0"/>
                <a:cs typeface="Arial Narrow"/>
              </a:rPr>
              <a:t>Commence NEP procurement process for mini grids and stand alone systems  </a:t>
            </a:r>
          </a:p>
        </p:txBody>
      </p:sp>
      <p:sp>
        <p:nvSpPr>
          <p:cNvPr id="46" name="Chevron 37">
            <a:extLst>
              <a:ext uri="{FF2B5EF4-FFF2-40B4-BE49-F238E27FC236}">
                <a16:creationId xmlns:a16="http://schemas.microsoft.com/office/drawing/2014/main" id="{85E0F59F-9556-4F8C-8970-53F9CC519708}"/>
              </a:ext>
            </a:extLst>
          </p:cNvPr>
          <p:cNvSpPr/>
          <p:nvPr/>
        </p:nvSpPr>
        <p:spPr bwMode="gray">
          <a:xfrm rot="5400000">
            <a:off x="483709" y="3498285"/>
            <a:ext cx="1036981" cy="1228717"/>
          </a:xfrm>
          <a:prstGeom prst="chevron">
            <a:avLst>
              <a:gd name="adj" fmla="val 21907"/>
            </a:avLst>
          </a:prstGeom>
          <a:solidFill>
            <a:srgbClr val="118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/>
              <a:t>2021 Q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16E9B46-0E55-4EF8-9AF4-1ED837E3FEA4}"/>
              </a:ext>
            </a:extLst>
          </p:cNvPr>
          <p:cNvSpPr/>
          <p:nvPr/>
        </p:nvSpPr>
        <p:spPr>
          <a:xfrm>
            <a:off x="1717331" y="3594151"/>
            <a:ext cx="6624430" cy="795528"/>
          </a:xfrm>
          <a:prstGeom prst="rect">
            <a:avLst/>
          </a:prstGeom>
          <a:solidFill>
            <a:srgbClr val="118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b="1" dirty="0">
                <a:solidFill>
                  <a:schemeClr val="bg1"/>
                </a:solidFill>
                <a:latin typeface="Century Gothic" pitchFamily="34" charset="0"/>
                <a:cs typeface="Arial Narrow"/>
              </a:rPr>
              <a:t>Mid-Term Review of NEP</a:t>
            </a:r>
          </a:p>
        </p:txBody>
      </p:sp>
      <p:sp>
        <p:nvSpPr>
          <p:cNvPr id="48" name="Chevron 37">
            <a:extLst>
              <a:ext uri="{FF2B5EF4-FFF2-40B4-BE49-F238E27FC236}">
                <a16:creationId xmlns:a16="http://schemas.microsoft.com/office/drawing/2014/main" id="{0FBE9482-9766-42EE-A6CC-EDE92C390E96}"/>
              </a:ext>
            </a:extLst>
          </p:cNvPr>
          <p:cNvSpPr/>
          <p:nvPr/>
        </p:nvSpPr>
        <p:spPr bwMode="gray">
          <a:xfrm rot="5400000">
            <a:off x="504013" y="4522672"/>
            <a:ext cx="996374" cy="1228717"/>
          </a:xfrm>
          <a:prstGeom prst="chevron">
            <a:avLst>
              <a:gd name="adj" fmla="val 21907"/>
            </a:avLst>
          </a:prstGeom>
          <a:solidFill>
            <a:srgbClr val="118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/>
              <a:t>2023 Q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A858B93-C471-44BA-9BBF-5742FBE57D0D}"/>
              </a:ext>
            </a:extLst>
          </p:cNvPr>
          <p:cNvSpPr/>
          <p:nvPr/>
        </p:nvSpPr>
        <p:spPr>
          <a:xfrm>
            <a:off x="1717331" y="4638842"/>
            <a:ext cx="6624430" cy="795528"/>
          </a:xfrm>
          <a:prstGeom prst="rect">
            <a:avLst/>
          </a:prstGeom>
          <a:solidFill>
            <a:srgbClr val="118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b="1" dirty="0">
                <a:solidFill>
                  <a:schemeClr val="bg1"/>
                </a:solidFill>
                <a:latin typeface="Century Gothic" pitchFamily="34" charset="0"/>
                <a:cs typeface="Arial Narrow"/>
              </a:rPr>
              <a:t>Close of NEP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B224F61-850B-4CB7-965E-ACE2C9733EE1}"/>
              </a:ext>
            </a:extLst>
          </p:cNvPr>
          <p:cNvGrpSpPr/>
          <p:nvPr/>
        </p:nvGrpSpPr>
        <p:grpSpPr>
          <a:xfrm>
            <a:off x="8360319" y="6287044"/>
            <a:ext cx="377281" cy="377281"/>
            <a:chOff x="8360319" y="6287044"/>
            <a:chExt cx="377281" cy="377281"/>
          </a:xfrm>
        </p:grpSpPr>
        <p:sp>
          <p:nvSpPr>
            <p:cNvPr id="25" name="object 32">
              <a:extLst>
                <a:ext uri="{FF2B5EF4-FFF2-40B4-BE49-F238E27FC236}">
                  <a16:creationId xmlns:a16="http://schemas.microsoft.com/office/drawing/2014/main" id="{1B84E993-2364-431B-8EA9-6D04E47188FB}"/>
                </a:ext>
              </a:extLst>
            </p:cNvPr>
            <p:cNvSpPr/>
            <p:nvPr/>
          </p:nvSpPr>
          <p:spPr bwMode="gray">
            <a:xfrm>
              <a:off x="8360319" y="6287044"/>
              <a:ext cx="377281" cy="377281"/>
            </a:xfrm>
            <a:custGeom>
              <a:avLst/>
              <a:gdLst/>
              <a:ahLst/>
              <a:cxnLst/>
              <a:rect l="l" t="t" r="r" b="b"/>
              <a:pathLst>
                <a:path w="377281" h="377281">
                  <a:moveTo>
                    <a:pt x="0" y="188640"/>
                  </a:moveTo>
                  <a:lnTo>
                    <a:pt x="625" y="173169"/>
                  </a:lnTo>
                  <a:lnTo>
                    <a:pt x="2468" y="158042"/>
                  </a:lnTo>
                  <a:lnTo>
                    <a:pt x="5482" y="143308"/>
                  </a:lnTo>
                  <a:lnTo>
                    <a:pt x="9617" y="129015"/>
                  </a:lnTo>
                  <a:lnTo>
                    <a:pt x="14824" y="115213"/>
                  </a:lnTo>
                  <a:lnTo>
                    <a:pt x="21055" y="101949"/>
                  </a:lnTo>
                  <a:lnTo>
                    <a:pt x="28262" y="89272"/>
                  </a:lnTo>
                  <a:lnTo>
                    <a:pt x="36396" y="77231"/>
                  </a:lnTo>
                  <a:lnTo>
                    <a:pt x="45409" y="65875"/>
                  </a:lnTo>
                  <a:lnTo>
                    <a:pt x="55251" y="55251"/>
                  </a:lnTo>
                  <a:lnTo>
                    <a:pt x="65875" y="45409"/>
                  </a:lnTo>
                  <a:lnTo>
                    <a:pt x="77231" y="36396"/>
                  </a:lnTo>
                  <a:lnTo>
                    <a:pt x="89272" y="28262"/>
                  </a:lnTo>
                  <a:lnTo>
                    <a:pt x="101949" y="21055"/>
                  </a:lnTo>
                  <a:lnTo>
                    <a:pt x="115213" y="14824"/>
                  </a:lnTo>
                  <a:lnTo>
                    <a:pt x="129015" y="9617"/>
                  </a:lnTo>
                  <a:lnTo>
                    <a:pt x="143308" y="5482"/>
                  </a:lnTo>
                  <a:lnTo>
                    <a:pt x="158042" y="2468"/>
                  </a:lnTo>
                  <a:lnTo>
                    <a:pt x="173169" y="625"/>
                  </a:lnTo>
                  <a:lnTo>
                    <a:pt x="188640" y="0"/>
                  </a:lnTo>
                  <a:lnTo>
                    <a:pt x="204111" y="625"/>
                  </a:lnTo>
                  <a:lnTo>
                    <a:pt x="219238" y="2468"/>
                  </a:lnTo>
                  <a:lnTo>
                    <a:pt x="233973" y="5482"/>
                  </a:lnTo>
                  <a:lnTo>
                    <a:pt x="248265" y="9617"/>
                  </a:lnTo>
                  <a:lnTo>
                    <a:pt x="262067" y="14824"/>
                  </a:lnTo>
                  <a:lnTo>
                    <a:pt x="275331" y="21055"/>
                  </a:lnTo>
                  <a:lnTo>
                    <a:pt x="288008" y="28262"/>
                  </a:lnTo>
                  <a:lnTo>
                    <a:pt x="300049" y="36396"/>
                  </a:lnTo>
                  <a:lnTo>
                    <a:pt x="311405" y="45409"/>
                  </a:lnTo>
                  <a:lnTo>
                    <a:pt x="322029" y="55251"/>
                  </a:lnTo>
                  <a:lnTo>
                    <a:pt x="331871" y="65875"/>
                  </a:lnTo>
                  <a:lnTo>
                    <a:pt x="340884" y="77231"/>
                  </a:lnTo>
                  <a:lnTo>
                    <a:pt x="349018" y="89272"/>
                  </a:lnTo>
                  <a:lnTo>
                    <a:pt x="356225" y="101949"/>
                  </a:lnTo>
                  <a:lnTo>
                    <a:pt x="362456" y="115213"/>
                  </a:lnTo>
                  <a:lnTo>
                    <a:pt x="367663" y="129015"/>
                  </a:lnTo>
                  <a:lnTo>
                    <a:pt x="371798" y="143308"/>
                  </a:lnTo>
                  <a:lnTo>
                    <a:pt x="374812" y="158042"/>
                  </a:lnTo>
                  <a:lnTo>
                    <a:pt x="376655" y="173169"/>
                  </a:lnTo>
                  <a:lnTo>
                    <a:pt x="377281" y="188640"/>
                  </a:lnTo>
                  <a:lnTo>
                    <a:pt x="376655" y="204111"/>
                  </a:lnTo>
                  <a:lnTo>
                    <a:pt x="374812" y="219238"/>
                  </a:lnTo>
                  <a:lnTo>
                    <a:pt x="371798" y="233973"/>
                  </a:lnTo>
                  <a:lnTo>
                    <a:pt x="367663" y="248265"/>
                  </a:lnTo>
                  <a:lnTo>
                    <a:pt x="362456" y="262067"/>
                  </a:lnTo>
                  <a:lnTo>
                    <a:pt x="356225" y="275331"/>
                  </a:lnTo>
                  <a:lnTo>
                    <a:pt x="349018" y="288008"/>
                  </a:lnTo>
                  <a:lnTo>
                    <a:pt x="340884" y="300049"/>
                  </a:lnTo>
                  <a:lnTo>
                    <a:pt x="331871" y="311405"/>
                  </a:lnTo>
                  <a:lnTo>
                    <a:pt x="322029" y="322029"/>
                  </a:lnTo>
                  <a:lnTo>
                    <a:pt x="311405" y="331871"/>
                  </a:lnTo>
                  <a:lnTo>
                    <a:pt x="300049" y="340884"/>
                  </a:lnTo>
                  <a:lnTo>
                    <a:pt x="288008" y="349018"/>
                  </a:lnTo>
                  <a:lnTo>
                    <a:pt x="275331" y="356225"/>
                  </a:lnTo>
                  <a:lnTo>
                    <a:pt x="262067" y="362456"/>
                  </a:lnTo>
                  <a:lnTo>
                    <a:pt x="248265" y="367663"/>
                  </a:lnTo>
                  <a:lnTo>
                    <a:pt x="233973" y="371798"/>
                  </a:lnTo>
                  <a:lnTo>
                    <a:pt x="219238" y="374812"/>
                  </a:lnTo>
                  <a:lnTo>
                    <a:pt x="204111" y="376655"/>
                  </a:lnTo>
                  <a:lnTo>
                    <a:pt x="188640" y="377281"/>
                  </a:lnTo>
                  <a:lnTo>
                    <a:pt x="173169" y="376655"/>
                  </a:lnTo>
                  <a:lnTo>
                    <a:pt x="158042" y="374812"/>
                  </a:lnTo>
                  <a:lnTo>
                    <a:pt x="143308" y="371798"/>
                  </a:lnTo>
                  <a:lnTo>
                    <a:pt x="129015" y="367663"/>
                  </a:lnTo>
                  <a:lnTo>
                    <a:pt x="115213" y="362456"/>
                  </a:lnTo>
                  <a:lnTo>
                    <a:pt x="101949" y="356225"/>
                  </a:lnTo>
                  <a:lnTo>
                    <a:pt x="89272" y="349018"/>
                  </a:lnTo>
                  <a:lnTo>
                    <a:pt x="77231" y="340884"/>
                  </a:lnTo>
                  <a:lnTo>
                    <a:pt x="65875" y="331871"/>
                  </a:lnTo>
                  <a:lnTo>
                    <a:pt x="55251" y="322029"/>
                  </a:lnTo>
                  <a:lnTo>
                    <a:pt x="45409" y="311405"/>
                  </a:lnTo>
                  <a:lnTo>
                    <a:pt x="36396" y="300049"/>
                  </a:lnTo>
                  <a:lnTo>
                    <a:pt x="28262" y="288008"/>
                  </a:lnTo>
                  <a:lnTo>
                    <a:pt x="21055" y="275331"/>
                  </a:lnTo>
                  <a:lnTo>
                    <a:pt x="14824" y="262067"/>
                  </a:lnTo>
                  <a:lnTo>
                    <a:pt x="9617" y="248265"/>
                  </a:lnTo>
                  <a:lnTo>
                    <a:pt x="5482" y="233973"/>
                  </a:lnTo>
                  <a:lnTo>
                    <a:pt x="2468" y="219238"/>
                  </a:lnTo>
                  <a:lnTo>
                    <a:pt x="625" y="204111"/>
                  </a:lnTo>
                  <a:lnTo>
                    <a:pt x="0" y="188640"/>
                  </a:lnTo>
                  <a:close/>
                </a:path>
              </a:pathLst>
            </a:custGeom>
            <a:solidFill>
              <a:srgbClr val="118552"/>
            </a:solidFill>
            <a:ln w="25400">
              <a:solidFill>
                <a:srgbClr val="FEFFFE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endParaRPr/>
            </a:p>
          </p:txBody>
        </p:sp>
        <p:sp>
          <p:nvSpPr>
            <p:cNvPr id="26" name="object 10">
              <a:extLst>
                <a:ext uri="{FF2B5EF4-FFF2-40B4-BE49-F238E27FC236}">
                  <a16:creationId xmlns:a16="http://schemas.microsoft.com/office/drawing/2014/main" id="{218A8171-E974-4660-B11C-EC337A149E8E}"/>
                </a:ext>
              </a:extLst>
            </p:cNvPr>
            <p:cNvSpPr txBox="1"/>
            <p:nvPr/>
          </p:nvSpPr>
          <p:spPr bwMode="gray">
            <a:xfrm>
              <a:off x="8506253" y="6415931"/>
              <a:ext cx="101347" cy="126999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12700" algn="ctr">
                <a:lnSpc>
                  <a:spcPts val="940"/>
                </a:lnSpc>
                <a:spcBef>
                  <a:spcPts val="47"/>
                </a:spcBef>
              </a:pPr>
              <a:fld id="{FFDA91BC-3AD5-415A-87C3-C1CCB1AB37DC}" type="slidenum">
                <a:rPr lang="en-US" sz="900">
                  <a:solidFill>
                    <a:srgbClr val="FFFFFF"/>
                  </a:solidFill>
                  <a:latin typeface="Century Gothic" panose="020B0502020202020204" pitchFamily="34" charset="0"/>
                  <a:cs typeface="Calibri"/>
                </a:rPr>
                <a:t>4</a:t>
              </a:fld>
              <a:endParaRPr sz="900" dirty="0">
                <a:solidFill>
                  <a:srgbClr val="FFFFFF"/>
                </a:solidFill>
                <a:latin typeface="Century Gothic" panose="020B0502020202020204" pitchFamily="34" charset="0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1240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085" y="158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085" y="158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4498" y="1"/>
            <a:ext cx="158675" cy="1586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799" dirty="0" err="1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636871" y="2650448"/>
            <a:ext cx="5485113" cy="221599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  <a:t>For further information please contact:</a:t>
            </a:r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6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latin typeface="Century Gothic" charset="0"/>
                <a:ea typeface="Century Gothic" charset="0"/>
                <a:cs typeface="Century Gothic" charset="0"/>
              </a:rPr>
              <a:t>Damilola</a:t>
            </a:r>
            <a:r>
              <a:rPr lang="en-US" sz="16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600" dirty="0" err="1">
                <a:latin typeface="Century Gothic" charset="0"/>
                <a:ea typeface="Century Gothic" charset="0"/>
                <a:cs typeface="Century Gothic" charset="0"/>
              </a:rPr>
              <a:t>Ogunbiyi</a:t>
            </a:r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  <a:t>Managing Director/ CEO</a:t>
            </a:r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  <a:t>RURAL ELECTRIFICATION AGENCY</a:t>
            </a:r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600" b="0" dirty="0" err="1">
                <a:latin typeface="Century Gothic" charset="0"/>
                <a:ea typeface="Century Gothic" charset="0"/>
                <a:cs typeface="Century Gothic" charset="0"/>
              </a:rPr>
              <a:t>damilola.ogunbiyi@rea.gov.ng</a:t>
            </a:r>
            <a: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5617845" y="1"/>
            <a:ext cx="108972" cy="245129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4967112" y="3053927"/>
            <a:ext cx="3349" cy="313238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3313526" y="5573641"/>
            <a:ext cx="3307172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  <a:hlinkClick r:id="rId8"/>
              </a:rPr>
              <a:t>www.rea.gov.ng</a:t>
            </a:r>
            <a:endParaRPr lang="en-US" sz="2000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5089331" y="3393288"/>
            <a:ext cx="5485113" cy="1892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198" b="1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b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500" dirty="0" err="1">
                <a:latin typeface="Century Gothic" charset="0"/>
                <a:ea typeface="Century Gothic" charset="0"/>
                <a:cs typeface="Century Gothic" charset="0"/>
              </a:rPr>
              <a:t>Adejoke</a:t>
            </a:r>
            <a:r>
              <a:rPr lang="en-US" sz="15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500" dirty="0" err="1">
                <a:latin typeface="Century Gothic" charset="0"/>
                <a:ea typeface="Century Gothic" charset="0"/>
                <a:cs typeface="Century Gothic" charset="0"/>
              </a:rPr>
              <a:t>Odumosu</a:t>
            </a:r>
            <a:br>
              <a:rPr lang="en-US" sz="15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500" b="0" dirty="0">
                <a:latin typeface="Century Gothic" charset="0"/>
                <a:ea typeface="Century Gothic" charset="0"/>
                <a:cs typeface="Century Gothic" charset="0"/>
              </a:rPr>
              <a:t>Head, Project Management Unit (PMU)</a:t>
            </a:r>
          </a:p>
          <a:p>
            <a:pPr algn="l"/>
            <a:r>
              <a:rPr lang="en-US" sz="1500" b="0" dirty="0">
                <a:latin typeface="Century Gothic" charset="0"/>
                <a:ea typeface="Century Gothic" charset="0"/>
                <a:cs typeface="Century Gothic" charset="0"/>
              </a:rPr>
              <a:t>Nigerian Electrification Project (NEP)</a:t>
            </a:r>
            <a:br>
              <a:rPr lang="en-US" sz="15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500" b="0" dirty="0">
                <a:latin typeface="Century Gothic" charset="0"/>
                <a:ea typeface="Century Gothic" charset="0"/>
                <a:cs typeface="Century Gothic" charset="0"/>
              </a:rPr>
              <a:t>RURAL ELECTRIFICATION AGENCY</a:t>
            </a:r>
            <a:br>
              <a:rPr lang="en-US" sz="15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500" b="0" dirty="0" err="1">
                <a:latin typeface="Century Gothic" charset="0"/>
                <a:ea typeface="Century Gothic" charset="0"/>
                <a:cs typeface="Century Gothic" charset="0"/>
              </a:rPr>
              <a:t>adejoke.odumosu@rea.gov.ng</a:t>
            </a:r>
            <a:r>
              <a:rPr lang="en-US" sz="1500" b="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br>
              <a:rPr lang="en-US" sz="1500" b="0" dirty="0">
                <a:latin typeface="Century Gothic" charset="0"/>
                <a:ea typeface="Century Gothic" charset="0"/>
                <a:cs typeface="Century Gothic" charset="0"/>
              </a:rPr>
            </a:br>
            <a:r>
              <a:rPr lang="en-US" sz="1600" b="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887699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mbMuGJSByT9W7xyB5x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11855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6419DA8DB29347883ED475D76DD24F" ma:contentTypeVersion="8" ma:contentTypeDescription="Create a new document." ma:contentTypeScope="" ma:versionID="89d2dafbe4354e5775e9fbeece21d537">
  <xsd:schema xmlns:xsd="http://www.w3.org/2001/XMLSchema" xmlns:xs="http://www.w3.org/2001/XMLSchema" xmlns:p="http://schemas.microsoft.com/office/2006/metadata/properties" xmlns:ns2="2a965387-0272-4dd9-b11f-423753277a10" xmlns:ns3="39fa2abe-73c9-4a9a-8145-1b04f9e63f17" xmlns:ns4="781bbd00-0a53-4dc8-b337-2db864aafa78" targetNamespace="http://schemas.microsoft.com/office/2006/metadata/properties" ma:root="true" ma:fieldsID="3aa5f0f8d8c2bbec0e8e0e9ac7358f77" ns2:_="" ns3:_="" ns4:_="">
    <xsd:import namespace="2a965387-0272-4dd9-b11f-423753277a10"/>
    <xsd:import namespace="39fa2abe-73c9-4a9a-8145-1b04f9e63f17"/>
    <xsd:import namespace="781bbd00-0a53-4dc8-b337-2db864aafa7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SharedWithDetails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965387-0272-4dd9-b11f-423753277a1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fa2abe-73c9-4a9a-8145-1b04f9e63f17" elementFormDefault="qualified">
    <xsd:import namespace="http://schemas.microsoft.com/office/2006/documentManagement/types"/>
    <xsd:import namespace="http://schemas.microsoft.com/office/infopath/2007/PartnerControls"/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1bbd00-0a53-4dc8-b337-2db864aafa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633BB46-DDB9-46D4-BC00-524FDAE143CD}">
  <ds:schemaRefs>
    <ds:schemaRef ds:uri="http://purl.org/dc/dcmitype/"/>
    <ds:schemaRef ds:uri="781bbd00-0a53-4dc8-b337-2db864aafa78"/>
    <ds:schemaRef ds:uri="2a965387-0272-4dd9-b11f-423753277a10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39fa2abe-73c9-4a9a-8145-1b04f9e63f1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DE2E9BF-0AFF-4190-BFA1-B2DEDCF9442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0AE1343-38DC-44C8-9A8E-2D8DBB9827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965387-0272-4dd9-b11f-423753277a10"/>
    <ds:schemaRef ds:uri="39fa2abe-73c9-4a9a-8145-1b04f9e63f17"/>
    <ds:schemaRef ds:uri="781bbd00-0a53-4dc8-b337-2db864aafa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othecary</Template>
  <TotalTime>30394</TotalTime>
  <Words>227</Words>
  <Application>Microsoft Office PowerPoint</Application>
  <PresentationFormat>Custom</PresentationFormat>
  <Paragraphs>54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Arial Narrow</vt:lpstr>
      <vt:lpstr>Calibri</vt:lpstr>
      <vt:lpstr>Century Gothic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  For further information please contact:   Damilola Ogunbiyi Managing Director/ CEO RURAL ELECTRIFICATION AGENCY damilola.ogunbiyi@rea.gov.ng  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n Exel</dc:creator>
  <cp:lastModifiedBy>Castalia</cp:lastModifiedBy>
  <cp:revision>757</cp:revision>
  <cp:lastPrinted>2018-07-30T15:18:37Z</cp:lastPrinted>
  <dcterms:modified xsi:type="dcterms:W3CDTF">2019-04-14T19:4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6419DA8DB29347883ED475D76DD24F</vt:lpwstr>
  </property>
</Properties>
</file>